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5" r:id="rId5"/>
  </p:sldMasterIdLst>
  <p:notesMasterIdLst>
    <p:notesMasterId r:id="rId14"/>
  </p:notesMasterIdLst>
  <p:sldIdLst>
    <p:sldId id="2167" r:id="rId6"/>
    <p:sldId id="2146846565" r:id="rId7"/>
    <p:sldId id="2146846566" r:id="rId8"/>
    <p:sldId id="2146846567" r:id="rId9"/>
    <p:sldId id="2146846568" r:id="rId10"/>
    <p:sldId id="2146846569" r:id="rId11"/>
    <p:sldId id="2146846570" r:id="rId12"/>
    <p:sldId id="2202"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tava, Willi" initials="VW" lastIdx="1" clrIdx="0">
    <p:extLst>
      <p:ext uri="{19B8F6BF-5375-455C-9EA6-DF929625EA0E}">
        <p15:presenceInfo xmlns:p15="http://schemas.microsoft.com/office/powerpoint/2012/main" userId="S::willi.votava@digital-innovation.com::ce104680-9443-4b9e-bbc0-bc8be4c22393" providerId="AD"/>
      </p:ext>
    </p:extLst>
  </p:cmAuthor>
  <p:cmAuthor id="2" name="Marcotte, Bill" initials="MB" lastIdx="1" clrIdx="1">
    <p:extLst>
      <p:ext uri="{19B8F6BF-5375-455C-9EA6-DF929625EA0E}">
        <p15:presenceInfo xmlns:p15="http://schemas.microsoft.com/office/powerpoint/2012/main" userId="S::bill.marcotte@sap.com::db669ace-0618-4c90-8701-9cdd2bb838e2" providerId="AD"/>
      </p:ext>
    </p:extLst>
  </p:cmAuthor>
  <p:cmAuthor id="3" name="Ouwejan, Tobias" initials="OT" lastIdx="1" clrIdx="2">
    <p:extLst>
      <p:ext uri="{19B8F6BF-5375-455C-9EA6-DF929625EA0E}">
        <p15:presenceInfo xmlns:p15="http://schemas.microsoft.com/office/powerpoint/2012/main" userId="S::tobias.ouwejan@sap.com::04f69cf6-b783-45e9-9dc7-11321b75a1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AFD"/>
    <a:srgbClr val="CC3300"/>
    <a:srgbClr val="8FCAC0"/>
    <a:srgbClr val="FAE2CC"/>
    <a:srgbClr val="75A5AF"/>
    <a:srgbClr val="1B232B"/>
    <a:srgbClr val="A2C4CA"/>
    <a:srgbClr val="43818F"/>
    <a:srgbClr val="ECEDE8"/>
    <a:srgbClr val="0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5D0377-7ED5-4858-AAEE-19131388C63B}" v="1" dt="2021-04-19T12:46:06.34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243"/>
    <p:restoredTop sz="94694"/>
  </p:normalViewPr>
  <p:slideViewPr>
    <p:cSldViewPr snapToGrid="0">
      <p:cViewPr varScale="1">
        <p:scale>
          <a:sx n="104" d="100"/>
          <a:sy n="104" d="100"/>
        </p:scale>
        <p:origin x="232" y="5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uwejan, Tobias" userId="S::tobias.ouwejan@sap.com::04f69cf6-b783-45e9-9dc7-11321b75a121" providerId="AD" clId="Web-{CCC5A88C-CB4C-89DD-EA9D-B0D567C87C9F}"/>
    <pc:docChg chg="">
      <pc:chgData name="Ouwejan, Tobias" userId="S::tobias.ouwejan@sap.com::04f69cf6-b783-45e9-9dc7-11321b75a121" providerId="AD" clId="Web-{CCC5A88C-CB4C-89DD-EA9D-B0D567C87C9F}" dt="2021-02-04T15:19:36.403" v="0"/>
      <pc:docMkLst>
        <pc:docMk/>
      </pc:docMkLst>
      <pc:sldChg chg="addCm">
        <pc:chgData name="Ouwejan, Tobias" userId="S::tobias.ouwejan@sap.com::04f69cf6-b783-45e9-9dc7-11321b75a121" providerId="AD" clId="Web-{CCC5A88C-CB4C-89DD-EA9D-B0D567C87C9F}" dt="2021-02-04T15:19:36.403" v="0"/>
        <pc:sldMkLst>
          <pc:docMk/>
          <pc:sldMk cId="2734395519" sldId="2146846113"/>
        </pc:sldMkLst>
      </pc:sldChg>
    </pc:docChg>
  </pc:docChgLst>
  <pc:docChgLst>
    <pc:chgData name="Votava, Willi" userId="ce104680-9443-4b9e-bbc0-bc8be4c22393" providerId="ADAL" clId="{6299FAA0-ABBC-E348-B1F1-00C0D91BFC33}"/>
    <pc:docChg chg="custSel addSld delSld modSld">
      <pc:chgData name="Votava, Willi" userId="ce104680-9443-4b9e-bbc0-bc8be4c22393" providerId="ADAL" clId="{6299FAA0-ABBC-E348-B1F1-00C0D91BFC33}" dt="2021-02-08T09:27:18.580" v="12" actId="1076"/>
      <pc:docMkLst>
        <pc:docMk/>
      </pc:docMkLst>
      <pc:sldChg chg="addSp delSp modSp mod">
        <pc:chgData name="Votava, Willi" userId="ce104680-9443-4b9e-bbc0-bc8be4c22393" providerId="ADAL" clId="{6299FAA0-ABBC-E348-B1F1-00C0D91BFC33}" dt="2021-02-08T09:27:18.580" v="12" actId="1076"/>
        <pc:sldMkLst>
          <pc:docMk/>
          <pc:sldMk cId="3888540030" sldId="2146846088"/>
        </pc:sldMkLst>
        <pc:picChg chg="del">
          <ac:chgData name="Votava, Willi" userId="ce104680-9443-4b9e-bbc0-bc8be4c22393" providerId="ADAL" clId="{6299FAA0-ABBC-E348-B1F1-00C0D91BFC33}" dt="2021-02-08T09:25:51.985" v="9" actId="478"/>
          <ac:picMkLst>
            <pc:docMk/>
            <pc:sldMk cId="3888540030" sldId="2146846088"/>
            <ac:picMk id="4" creationId="{66DAC412-5E87-3641-9916-94DD8950E969}"/>
          </ac:picMkLst>
        </pc:picChg>
        <pc:picChg chg="add mod">
          <ac:chgData name="Votava, Willi" userId="ce104680-9443-4b9e-bbc0-bc8be4c22393" providerId="ADAL" clId="{6299FAA0-ABBC-E348-B1F1-00C0D91BFC33}" dt="2021-02-08T09:27:18.580" v="12" actId="1076"/>
          <ac:picMkLst>
            <pc:docMk/>
            <pc:sldMk cId="3888540030" sldId="2146846088"/>
            <ac:picMk id="5" creationId="{CFA33F1D-17CD-E749-A510-84B9F253E6F1}"/>
          </ac:picMkLst>
        </pc:picChg>
      </pc:sldChg>
      <pc:sldChg chg="del">
        <pc:chgData name="Votava, Willi" userId="ce104680-9443-4b9e-bbc0-bc8be4c22393" providerId="ADAL" clId="{6299FAA0-ABBC-E348-B1F1-00C0D91BFC33}" dt="2021-02-08T09:24:50.908" v="1" actId="2696"/>
        <pc:sldMkLst>
          <pc:docMk/>
          <pc:sldMk cId="2807881975" sldId="2146846107"/>
        </pc:sldMkLst>
      </pc:sldChg>
      <pc:sldChg chg="del">
        <pc:chgData name="Votava, Willi" userId="ce104680-9443-4b9e-bbc0-bc8be4c22393" providerId="ADAL" clId="{6299FAA0-ABBC-E348-B1F1-00C0D91BFC33}" dt="2021-02-08T09:25:12.959" v="3" actId="2696"/>
        <pc:sldMkLst>
          <pc:docMk/>
          <pc:sldMk cId="3345090145" sldId="2146846108"/>
        </pc:sldMkLst>
      </pc:sldChg>
      <pc:sldChg chg="delSp add mod">
        <pc:chgData name="Votava, Willi" userId="ce104680-9443-4b9e-bbc0-bc8be4c22393" providerId="ADAL" clId="{6299FAA0-ABBC-E348-B1F1-00C0D91BFC33}" dt="2021-02-08T09:25:31.836" v="8" actId="478"/>
        <pc:sldMkLst>
          <pc:docMk/>
          <pc:sldMk cId="3392075530" sldId="2146846108"/>
        </pc:sldMkLst>
        <pc:spChg chg="del">
          <ac:chgData name="Votava, Willi" userId="ce104680-9443-4b9e-bbc0-bc8be4c22393" providerId="ADAL" clId="{6299FAA0-ABBC-E348-B1F1-00C0D91BFC33}" dt="2021-02-08T09:25:30.086" v="7" actId="478"/>
          <ac:spMkLst>
            <pc:docMk/>
            <pc:sldMk cId="3392075530" sldId="2146846108"/>
            <ac:spMk id="4" creationId="{EDF9D9AF-08C3-7745-9348-B416A953C956}"/>
          </ac:spMkLst>
        </pc:spChg>
        <pc:spChg chg="del">
          <ac:chgData name="Votava, Willi" userId="ce104680-9443-4b9e-bbc0-bc8be4c22393" providerId="ADAL" clId="{6299FAA0-ABBC-E348-B1F1-00C0D91BFC33}" dt="2021-02-08T09:25:30.086" v="7" actId="478"/>
          <ac:spMkLst>
            <pc:docMk/>
            <pc:sldMk cId="3392075530" sldId="2146846108"/>
            <ac:spMk id="5" creationId="{2C3247EB-198F-5D47-A09E-52F2A4AF1953}"/>
          </ac:spMkLst>
        </pc:spChg>
        <pc:spChg chg="del">
          <ac:chgData name="Votava, Willi" userId="ce104680-9443-4b9e-bbc0-bc8be4c22393" providerId="ADAL" clId="{6299FAA0-ABBC-E348-B1F1-00C0D91BFC33}" dt="2021-02-08T09:25:31.836" v="8" actId="478"/>
          <ac:spMkLst>
            <pc:docMk/>
            <pc:sldMk cId="3392075530" sldId="2146846108"/>
            <ac:spMk id="6" creationId="{907FD0E3-4069-504E-BF15-FDB8A0780C5E}"/>
          </ac:spMkLst>
        </pc:spChg>
        <pc:spChg chg="del">
          <ac:chgData name="Votava, Willi" userId="ce104680-9443-4b9e-bbc0-bc8be4c22393" providerId="ADAL" clId="{6299FAA0-ABBC-E348-B1F1-00C0D91BFC33}" dt="2021-02-08T09:25:30.086" v="7" actId="478"/>
          <ac:spMkLst>
            <pc:docMk/>
            <pc:sldMk cId="3392075530" sldId="2146846108"/>
            <ac:spMk id="7" creationId="{82A4FEB5-FD38-0546-AF3E-9BCC798A30F8}"/>
          </ac:spMkLst>
        </pc:spChg>
        <pc:spChg chg="del">
          <ac:chgData name="Votava, Willi" userId="ce104680-9443-4b9e-bbc0-bc8be4c22393" providerId="ADAL" clId="{6299FAA0-ABBC-E348-B1F1-00C0D91BFC33}" dt="2021-02-08T09:25:30.086" v="7" actId="478"/>
          <ac:spMkLst>
            <pc:docMk/>
            <pc:sldMk cId="3392075530" sldId="2146846108"/>
            <ac:spMk id="9" creationId="{FFA0FA68-1E9E-BA43-9B7C-0B5BDE3D31F9}"/>
          </ac:spMkLst>
        </pc:spChg>
        <pc:spChg chg="del">
          <ac:chgData name="Votava, Willi" userId="ce104680-9443-4b9e-bbc0-bc8be4c22393" providerId="ADAL" clId="{6299FAA0-ABBC-E348-B1F1-00C0D91BFC33}" dt="2021-02-08T09:25:30.086" v="7" actId="478"/>
          <ac:spMkLst>
            <pc:docMk/>
            <pc:sldMk cId="3392075530" sldId="2146846108"/>
            <ac:spMk id="10" creationId="{0BF0EDF6-6558-0041-9CAF-0CB22C499C56}"/>
          </ac:spMkLst>
        </pc:spChg>
        <pc:spChg chg="del">
          <ac:chgData name="Votava, Willi" userId="ce104680-9443-4b9e-bbc0-bc8be4c22393" providerId="ADAL" clId="{6299FAA0-ABBC-E348-B1F1-00C0D91BFC33}" dt="2021-02-08T09:25:30.086" v="7" actId="478"/>
          <ac:spMkLst>
            <pc:docMk/>
            <pc:sldMk cId="3392075530" sldId="2146846108"/>
            <ac:spMk id="11" creationId="{D5009375-A39A-C54D-9B94-DA57D728F88B}"/>
          </ac:spMkLst>
        </pc:spChg>
        <pc:spChg chg="del">
          <ac:chgData name="Votava, Willi" userId="ce104680-9443-4b9e-bbc0-bc8be4c22393" providerId="ADAL" clId="{6299FAA0-ABBC-E348-B1F1-00C0D91BFC33}" dt="2021-02-08T09:25:30.086" v="7" actId="478"/>
          <ac:spMkLst>
            <pc:docMk/>
            <pc:sldMk cId="3392075530" sldId="2146846108"/>
            <ac:spMk id="12" creationId="{ACB15586-73DB-6C4F-B1C2-2118BB466775}"/>
          </ac:spMkLst>
        </pc:spChg>
        <pc:spChg chg="del">
          <ac:chgData name="Votava, Willi" userId="ce104680-9443-4b9e-bbc0-bc8be4c22393" providerId="ADAL" clId="{6299FAA0-ABBC-E348-B1F1-00C0D91BFC33}" dt="2021-02-08T09:25:30.086" v="7" actId="478"/>
          <ac:spMkLst>
            <pc:docMk/>
            <pc:sldMk cId="3392075530" sldId="2146846108"/>
            <ac:spMk id="13" creationId="{52300D33-BB5F-1541-88C7-B310B5AFD5BB}"/>
          </ac:spMkLst>
        </pc:spChg>
        <pc:spChg chg="del">
          <ac:chgData name="Votava, Willi" userId="ce104680-9443-4b9e-bbc0-bc8be4c22393" providerId="ADAL" clId="{6299FAA0-ABBC-E348-B1F1-00C0D91BFC33}" dt="2021-02-08T09:25:30.086" v="7" actId="478"/>
          <ac:spMkLst>
            <pc:docMk/>
            <pc:sldMk cId="3392075530" sldId="2146846108"/>
            <ac:spMk id="14" creationId="{F0F2F441-7B3E-A24E-8C31-08BDAF818361}"/>
          </ac:spMkLst>
        </pc:spChg>
        <pc:spChg chg="del">
          <ac:chgData name="Votava, Willi" userId="ce104680-9443-4b9e-bbc0-bc8be4c22393" providerId="ADAL" clId="{6299FAA0-ABBC-E348-B1F1-00C0D91BFC33}" dt="2021-02-08T09:25:30.086" v="7" actId="478"/>
          <ac:spMkLst>
            <pc:docMk/>
            <pc:sldMk cId="3392075530" sldId="2146846108"/>
            <ac:spMk id="15" creationId="{165DFA91-4F31-1040-B218-BFA800F358BC}"/>
          </ac:spMkLst>
        </pc:spChg>
        <pc:spChg chg="del">
          <ac:chgData name="Votava, Willi" userId="ce104680-9443-4b9e-bbc0-bc8be4c22393" providerId="ADAL" clId="{6299FAA0-ABBC-E348-B1F1-00C0D91BFC33}" dt="2021-02-08T09:25:30.086" v="7" actId="478"/>
          <ac:spMkLst>
            <pc:docMk/>
            <pc:sldMk cId="3392075530" sldId="2146846108"/>
            <ac:spMk id="16" creationId="{E65FDF8F-CDA0-574E-8504-89519B33C863}"/>
          </ac:spMkLst>
        </pc:spChg>
        <pc:spChg chg="del">
          <ac:chgData name="Votava, Willi" userId="ce104680-9443-4b9e-bbc0-bc8be4c22393" providerId="ADAL" clId="{6299FAA0-ABBC-E348-B1F1-00C0D91BFC33}" dt="2021-02-08T09:25:30.086" v="7" actId="478"/>
          <ac:spMkLst>
            <pc:docMk/>
            <pc:sldMk cId="3392075530" sldId="2146846108"/>
            <ac:spMk id="17" creationId="{73E941FB-2812-F74A-B43A-818E4CDB1462}"/>
          </ac:spMkLst>
        </pc:spChg>
        <pc:spChg chg="del">
          <ac:chgData name="Votava, Willi" userId="ce104680-9443-4b9e-bbc0-bc8be4c22393" providerId="ADAL" clId="{6299FAA0-ABBC-E348-B1F1-00C0D91BFC33}" dt="2021-02-08T09:25:30.086" v="7" actId="478"/>
          <ac:spMkLst>
            <pc:docMk/>
            <pc:sldMk cId="3392075530" sldId="2146846108"/>
            <ac:spMk id="18" creationId="{5F472100-CF41-8247-90A9-BAB668545B5D}"/>
          </ac:spMkLst>
        </pc:spChg>
        <pc:spChg chg="del">
          <ac:chgData name="Votava, Willi" userId="ce104680-9443-4b9e-bbc0-bc8be4c22393" providerId="ADAL" clId="{6299FAA0-ABBC-E348-B1F1-00C0D91BFC33}" dt="2021-02-08T09:25:30.086" v="7" actId="478"/>
          <ac:spMkLst>
            <pc:docMk/>
            <pc:sldMk cId="3392075530" sldId="2146846108"/>
            <ac:spMk id="19" creationId="{AF1992D8-45BD-5C4C-84F7-984CE1DD392C}"/>
          </ac:spMkLst>
        </pc:spChg>
        <pc:spChg chg="del">
          <ac:chgData name="Votava, Willi" userId="ce104680-9443-4b9e-bbc0-bc8be4c22393" providerId="ADAL" clId="{6299FAA0-ABBC-E348-B1F1-00C0D91BFC33}" dt="2021-02-08T09:25:30.086" v="7" actId="478"/>
          <ac:spMkLst>
            <pc:docMk/>
            <pc:sldMk cId="3392075530" sldId="2146846108"/>
            <ac:spMk id="20" creationId="{3082AF9A-C3B0-D642-A919-D3C9B6D83F6A}"/>
          </ac:spMkLst>
        </pc:spChg>
        <pc:spChg chg="del">
          <ac:chgData name="Votava, Willi" userId="ce104680-9443-4b9e-bbc0-bc8be4c22393" providerId="ADAL" clId="{6299FAA0-ABBC-E348-B1F1-00C0D91BFC33}" dt="2021-02-08T09:25:30.086" v="7" actId="478"/>
          <ac:spMkLst>
            <pc:docMk/>
            <pc:sldMk cId="3392075530" sldId="2146846108"/>
            <ac:spMk id="21" creationId="{E392B052-6313-5B41-AB19-3EC5D50B37EA}"/>
          </ac:spMkLst>
        </pc:spChg>
        <pc:spChg chg="del">
          <ac:chgData name="Votava, Willi" userId="ce104680-9443-4b9e-bbc0-bc8be4c22393" providerId="ADAL" clId="{6299FAA0-ABBC-E348-B1F1-00C0D91BFC33}" dt="2021-02-08T09:25:30.086" v="7" actId="478"/>
          <ac:spMkLst>
            <pc:docMk/>
            <pc:sldMk cId="3392075530" sldId="2146846108"/>
            <ac:spMk id="22" creationId="{471A553D-F504-8845-8414-F0910175B9B6}"/>
          </ac:spMkLst>
        </pc:spChg>
      </pc:sldChg>
      <pc:sldChg chg="del">
        <pc:chgData name="Votava, Willi" userId="ce104680-9443-4b9e-bbc0-bc8be4c22393" providerId="ADAL" clId="{6299FAA0-ABBC-E348-B1F1-00C0D91BFC33}" dt="2021-02-08T09:25:12.959" v="3" actId="2696"/>
        <pc:sldMkLst>
          <pc:docMk/>
          <pc:sldMk cId="2951842072" sldId="2146846109"/>
        </pc:sldMkLst>
      </pc:sldChg>
      <pc:sldChg chg="delSp add mod">
        <pc:chgData name="Votava, Willi" userId="ce104680-9443-4b9e-bbc0-bc8be4c22393" providerId="ADAL" clId="{6299FAA0-ABBC-E348-B1F1-00C0D91BFC33}" dt="2021-02-08T09:25:23.536" v="6" actId="478"/>
        <pc:sldMkLst>
          <pc:docMk/>
          <pc:sldMk cId="3421603444" sldId="2146846109"/>
        </pc:sldMkLst>
        <pc:spChg chg="del">
          <ac:chgData name="Votava, Willi" userId="ce104680-9443-4b9e-bbc0-bc8be4c22393" providerId="ADAL" clId="{6299FAA0-ABBC-E348-B1F1-00C0D91BFC33}" dt="2021-02-08T09:25:20.136" v="5" actId="478"/>
          <ac:spMkLst>
            <pc:docMk/>
            <pc:sldMk cId="3421603444" sldId="2146846109"/>
            <ac:spMk id="3" creationId="{3D555A28-46D5-4717-9CB2-C2D949D2F510}"/>
          </ac:spMkLst>
        </pc:spChg>
        <pc:spChg chg="del">
          <ac:chgData name="Votava, Willi" userId="ce104680-9443-4b9e-bbc0-bc8be4c22393" providerId="ADAL" clId="{6299FAA0-ABBC-E348-B1F1-00C0D91BFC33}" dt="2021-02-08T09:25:20.136" v="5" actId="478"/>
          <ac:spMkLst>
            <pc:docMk/>
            <pc:sldMk cId="3421603444" sldId="2146846109"/>
            <ac:spMk id="5" creationId="{A2400771-D0D2-4735-BF6B-3C1F11ADF606}"/>
          </ac:spMkLst>
        </pc:spChg>
        <pc:spChg chg="del">
          <ac:chgData name="Votava, Willi" userId="ce104680-9443-4b9e-bbc0-bc8be4c22393" providerId="ADAL" clId="{6299FAA0-ABBC-E348-B1F1-00C0D91BFC33}" dt="2021-02-08T09:25:20.136" v="5" actId="478"/>
          <ac:spMkLst>
            <pc:docMk/>
            <pc:sldMk cId="3421603444" sldId="2146846109"/>
            <ac:spMk id="6" creationId="{19F4BA05-1579-4A82-B35F-D633AFD01984}"/>
          </ac:spMkLst>
        </pc:spChg>
        <pc:spChg chg="del">
          <ac:chgData name="Votava, Willi" userId="ce104680-9443-4b9e-bbc0-bc8be4c22393" providerId="ADAL" clId="{6299FAA0-ABBC-E348-B1F1-00C0D91BFC33}" dt="2021-02-08T09:25:20.136" v="5" actId="478"/>
          <ac:spMkLst>
            <pc:docMk/>
            <pc:sldMk cId="3421603444" sldId="2146846109"/>
            <ac:spMk id="7" creationId="{9C61D8D5-0DC8-4F48-9A36-F42E3321BEDE}"/>
          </ac:spMkLst>
        </pc:spChg>
        <pc:spChg chg="del">
          <ac:chgData name="Votava, Willi" userId="ce104680-9443-4b9e-bbc0-bc8be4c22393" providerId="ADAL" clId="{6299FAA0-ABBC-E348-B1F1-00C0D91BFC33}" dt="2021-02-08T09:25:20.136" v="5" actId="478"/>
          <ac:spMkLst>
            <pc:docMk/>
            <pc:sldMk cId="3421603444" sldId="2146846109"/>
            <ac:spMk id="9" creationId="{156847F8-EEAE-4948-B4B5-A42600BAA67F}"/>
          </ac:spMkLst>
        </pc:spChg>
        <pc:spChg chg="del">
          <ac:chgData name="Votava, Willi" userId="ce104680-9443-4b9e-bbc0-bc8be4c22393" providerId="ADAL" clId="{6299FAA0-ABBC-E348-B1F1-00C0D91BFC33}" dt="2021-02-08T09:25:20.136" v="5" actId="478"/>
          <ac:spMkLst>
            <pc:docMk/>
            <pc:sldMk cId="3421603444" sldId="2146846109"/>
            <ac:spMk id="10" creationId="{9221B4E5-B662-2041-AFE1-D6016BA393AD}"/>
          </ac:spMkLst>
        </pc:spChg>
        <pc:spChg chg="del">
          <ac:chgData name="Votava, Willi" userId="ce104680-9443-4b9e-bbc0-bc8be4c22393" providerId="ADAL" clId="{6299FAA0-ABBC-E348-B1F1-00C0D91BFC33}" dt="2021-02-08T09:25:20.136" v="5" actId="478"/>
          <ac:spMkLst>
            <pc:docMk/>
            <pc:sldMk cId="3421603444" sldId="2146846109"/>
            <ac:spMk id="11" creationId="{60EBA880-43FE-DD4D-BB4C-21A95949A41B}"/>
          </ac:spMkLst>
        </pc:spChg>
        <pc:spChg chg="del">
          <ac:chgData name="Votava, Willi" userId="ce104680-9443-4b9e-bbc0-bc8be4c22393" providerId="ADAL" clId="{6299FAA0-ABBC-E348-B1F1-00C0D91BFC33}" dt="2021-02-08T09:25:20.136" v="5" actId="478"/>
          <ac:spMkLst>
            <pc:docMk/>
            <pc:sldMk cId="3421603444" sldId="2146846109"/>
            <ac:spMk id="12" creationId="{7515CF1B-4BAA-B749-A321-E6F5AE457A15}"/>
          </ac:spMkLst>
        </pc:spChg>
        <pc:spChg chg="del">
          <ac:chgData name="Votava, Willi" userId="ce104680-9443-4b9e-bbc0-bc8be4c22393" providerId="ADAL" clId="{6299FAA0-ABBC-E348-B1F1-00C0D91BFC33}" dt="2021-02-08T09:25:20.136" v="5" actId="478"/>
          <ac:spMkLst>
            <pc:docMk/>
            <pc:sldMk cId="3421603444" sldId="2146846109"/>
            <ac:spMk id="13" creationId="{88C2DD24-1155-4D42-9883-1B807547BEF2}"/>
          </ac:spMkLst>
        </pc:spChg>
        <pc:spChg chg="del">
          <ac:chgData name="Votava, Willi" userId="ce104680-9443-4b9e-bbc0-bc8be4c22393" providerId="ADAL" clId="{6299FAA0-ABBC-E348-B1F1-00C0D91BFC33}" dt="2021-02-08T09:25:20.136" v="5" actId="478"/>
          <ac:spMkLst>
            <pc:docMk/>
            <pc:sldMk cId="3421603444" sldId="2146846109"/>
            <ac:spMk id="14" creationId="{56D9D6C1-B73F-E94C-943B-CCDBE6339EE1}"/>
          </ac:spMkLst>
        </pc:spChg>
        <pc:spChg chg="del">
          <ac:chgData name="Votava, Willi" userId="ce104680-9443-4b9e-bbc0-bc8be4c22393" providerId="ADAL" clId="{6299FAA0-ABBC-E348-B1F1-00C0D91BFC33}" dt="2021-02-08T09:25:20.136" v="5" actId="478"/>
          <ac:spMkLst>
            <pc:docMk/>
            <pc:sldMk cId="3421603444" sldId="2146846109"/>
            <ac:spMk id="15" creationId="{4561C6DD-E2AF-1440-B0D4-AEEB7EA16792}"/>
          </ac:spMkLst>
        </pc:spChg>
        <pc:spChg chg="del">
          <ac:chgData name="Votava, Willi" userId="ce104680-9443-4b9e-bbc0-bc8be4c22393" providerId="ADAL" clId="{6299FAA0-ABBC-E348-B1F1-00C0D91BFC33}" dt="2021-02-08T09:25:20.136" v="5" actId="478"/>
          <ac:spMkLst>
            <pc:docMk/>
            <pc:sldMk cId="3421603444" sldId="2146846109"/>
            <ac:spMk id="16" creationId="{F6692D02-D563-AB41-96C4-BAC15EE9B7A1}"/>
          </ac:spMkLst>
        </pc:spChg>
        <pc:spChg chg="del">
          <ac:chgData name="Votava, Willi" userId="ce104680-9443-4b9e-bbc0-bc8be4c22393" providerId="ADAL" clId="{6299FAA0-ABBC-E348-B1F1-00C0D91BFC33}" dt="2021-02-08T09:25:23.536" v="6" actId="478"/>
          <ac:spMkLst>
            <pc:docMk/>
            <pc:sldMk cId="3421603444" sldId="2146846109"/>
            <ac:spMk id="17" creationId="{643F877E-23E9-7D49-81DC-CB49201FCAEA}"/>
          </ac:spMkLst>
        </pc:spChg>
      </pc:sldChg>
      <pc:sldChg chg="delSp add mod">
        <pc:chgData name="Votava, Willi" userId="ce104680-9443-4b9e-bbc0-bc8be4c22393" providerId="ADAL" clId="{6299FAA0-ABBC-E348-B1F1-00C0D91BFC33}" dt="2021-02-08T09:24:53.685" v="2" actId="478"/>
        <pc:sldMkLst>
          <pc:docMk/>
          <pc:sldMk cId="2778682060" sldId="2146846564"/>
        </pc:sldMkLst>
        <pc:picChg chg="del">
          <ac:chgData name="Votava, Willi" userId="ce104680-9443-4b9e-bbc0-bc8be4c22393" providerId="ADAL" clId="{6299FAA0-ABBC-E348-B1F1-00C0D91BFC33}" dt="2021-02-08T09:24:53.685" v="2" actId="478"/>
          <ac:picMkLst>
            <pc:docMk/>
            <pc:sldMk cId="2778682060" sldId="2146846564"/>
            <ac:picMk id="3" creationId="{E0FB8AC9-7EA4-4E44-9A67-66792801D182}"/>
          </ac:picMkLst>
        </pc:picChg>
      </pc:sldChg>
    </pc:docChg>
  </pc:docChgLst>
  <pc:docChgLst>
    <pc:chgData name="Otto, Christian" userId="7a0ac05c-d8a5-42e5-b5f1-aba291ba2b08" providerId="ADAL" clId="{295D0377-7ED5-4858-AAEE-19131388C63B}"/>
    <pc:docChg chg="modSld">
      <pc:chgData name="Otto, Christian" userId="7a0ac05c-d8a5-42e5-b5f1-aba291ba2b08" providerId="ADAL" clId="{295D0377-7ED5-4858-AAEE-19131388C63B}" dt="2021-04-19T12:46:06.348" v="0" actId="165"/>
      <pc:docMkLst>
        <pc:docMk/>
      </pc:docMkLst>
      <pc:sldChg chg="delSp modSp">
        <pc:chgData name="Otto, Christian" userId="7a0ac05c-d8a5-42e5-b5f1-aba291ba2b08" providerId="ADAL" clId="{295D0377-7ED5-4858-AAEE-19131388C63B}" dt="2021-04-19T12:46:06.348" v="0" actId="165"/>
        <pc:sldMkLst>
          <pc:docMk/>
          <pc:sldMk cId="1343154700" sldId="9045"/>
        </pc:sldMkLst>
        <pc:spChg chg="mod topLvl">
          <ac:chgData name="Otto, Christian" userId="7a0ac05c-d8a5-42e5-b5f1-aba291ba2b08" providerId="ADAL" clId="{295D0377-7ED5-4858-AAEE-19131388C63B}" dt="2021-04-19T12:46:06.348" v="0" actId="165"/>
          <ac:spMkLst>
            <pc:docMk/>
            <pc:sldMk cId="1343154700" sldId="9045"/>
            <ac:spMk id="302" creationId="{F9188E80-C874-E646-971C-69ACE25FCD3D}"/>
          </ac:spMkLst>
        </pc:spChg>
        <pc:spChg chg="mod topLvl">
          <ac:chgData name="Otto, Christian" userId="7a0ac05c-d8a5-42e5-b5f1-aba291ba2b08" providerId="ADAL" clId="{295D0377-7ED5-4858-AAEE-19131388C63B}" dt="2021-04-19T12:46:06.348" v="0" actId="165"/>
          <ac:spMkLst>
            <pc:docMk/>
            <pc:sldMk cId="1343154700" sldId="9045"/>
            <ac:spMk id="303" creationId="{8C945A12-1C40-2A4D-8CFB-A275DEAFE8AA}"/>
          </ac:spMkLst>
        </pc:spChg>
        <pc:grpChg chg="del">
          <ac:chgData name="Otto, Christian" userId="7a0ac05c-d8a5-42e5-b5f1-aba291ba2b08" providerId="ADAL" clId="{295D0377-7ED5-4858-AAEE-19131388C63B}" dt="2021-04-19T12:46:06.348" v="0" actId="165"/>
          <ac:grpSpMkLst>
            <pc:docMk/>
            <pc:sldMk cId="1343154700" sldId="9045"/>
            <ac:grpSpMk id="911" creationId="{C931A068-F6EF-4891-AAB7-F1C6631934B8}"/>
          </ac:grpSpMkLst>
        </pc:grpChg>
        <pc:picChg chg="mod topLvl">
          <ac:chgData name="Otto, Christian" userId="7a0ac05c-d8a5-42e5-b5f1-aba291ba2b08" providerId="ADAL" clId="{295D0377-7ED5-4858-AAEE-19131388C63B}" dt="2021-04-19T12:46:06.348" v="0" actId="165"/>
          <ac:picMkLst>
            <pc:docMk/>
            <pc:sldMk cId="1343154700" sldId="9045"/>
            <ac:picMk id="910" creationId="{55014F78-3864-4671-98D2-5907A27A0673}"/>
          </ac:picMkLst>
        </pc:picChg>
        <pc:cxnChg chg="mod topLvl">
          <ac:chgData name="Otto, Christian" userId="7a0ac05c-d8a5-42e5-b5f1-aba291ba2b08" providerId="ADAL" clId="{295D0377-7ED5-4858-AAEE-19131388C63B}" dt="2021-04-19T12:46:06.348" v="0" actId="165"/>
          <ac:cxnSpMkLst>
            <pc:docMk/>
            <pc:sldMk cId="1343154700" sldId="9045"/>
            <ac:cxnSpMk id="308" creationId="{AFE7F44C-7349-A240-AADB-28ADDF70C518}"/>
          </ac:cxnSpMkLst>
        </pc:cxnChg>
      </pc:sldChg>
    </pc:docChg>
  </pc:docChgLst>
  <pc:docChgLst>
    <pc:chgData name="Saas, Jean-Michel" userId="336b16bf-365e-4a2a-be34-7780f081e965" providerId="ADAL" clId="{208B26B6-E17F-434B-A308-FB0B881BB575}"/>
    <pc:docChg chg="modSld">
      <pc:chgData name="Saas, Jean-Michel" userId="336b16bf-365e-4a2a-be34-7780f081e965" providerId="ADAL" clId="{208B26B6-E17F-434B-A308-FB0B881BB575}" dt="2021-02-08T14:28:01.169" v="8"/>
      <pc:docMkLst>
        <pc:docMk/>
      </pc:docMkLst>
      <pc:sldChg chg="modSp">
        <pc:chgData name="Saas, Jean-Michel" userId="336b16bf-365e-4a2a-be34-7780f081e965" providerId="ADAL" clId="{208B26B6-E17F-434B-A308-FB0B881BB575}" dt="2021-02-01T14:37:10.955" v="6" actId="1076"/>
        <pc:sldMkLst>
          <pc:docMk/>
          <pc:sldMk cId="2951842072" sldId="2146846109"/>
        </pc:sldMkLst>
        <pc:picChg chg="mod">
          <ac:chgData name="Saas, Jean-Michel" userId="336b16bf-365e-4a2a-be34-7780f081e965" providerId="ADAL" clId="{208B26B6-E17F-434B-A308-FB0B881BB575}" dt="2021-02-01T14:37:10.955" v="6" actId="1076"/>
          <ac:picMkLst>
            <pc:docMk/>
            <pc:sldMk cId="2951842072" sldId="2146846109"/>
            <ac:picMk id="8" creationId="{A6ACF141-FFA7-3E43-9F2F-12A3E935CE58}"/>
          </ac:picMkLst>
        </pc:picChg>
      </pc:sldChg>
      <pc:sldChg chg="modCm">
        <pc:chgData name="Saas, Jean-Michel" userId="336b16bf-365e-4a2a-be34-7780f081e965" providerId="ADAL" clId="{208B26B6-E17F-434B-A308-FB0B881BB575}" dt="2021-02-08T14:28:01.169" v="8"/>
        <pc:sldMkLst>
          <pc:docMk/>
          <pc:sldMk cId="2734395519" sldId="2146846113"/>
        </pc:sldMkLst>
      </pc:sldChg>
    </pc:docChg>
  </pc:docChgLst>
  <pc:docChgLst>
    <pc:chgData name="Votava, Willi" userId="S::willi.votava_digital-innovation.com#ext#@sap.onmicrosoft.com::0d7bf0b2-3e81-499d-970a-c4e2674b5e53" providerId="AD" clId="Web-{D5CCE85F-DB00-4B54-558A-850DF98FD62C}"/>
    <pc:docChg chg="modSld">
      <pc:chgData name="Votava, Willi" userId="S::willi.votava_digital-innovation.com#ext#@sap.onmicrosoft.com::0d7bf0b2-3e81-499d-970a-c4e2674b5e53" providerId="AD" clId="Web-{D5CCE85F-DB00-4B54-558A-850DF98FD62C}" dt="2021-03-05T13:25:18.101" v="16" actId="14100"/>
      <pc:docMkLst>
        <pc:docMk/>
      </pc:docMkLst>
      <pc:sldChg chg="addSp delSp modSp">
        <pc:chgData name="Votava, Willi" userId="S::willi.votava_digital-innovation.com#ext#@sap.onmicrosoft.com::0d7bf0b2-3e81-499d-970a-c4e2674b5e53" providerId="AD" clId="Web-{D5CCE85F-DB00-4B54-558A-850DF98FD62C}" dt="2021-03-05T13:24:12.630" v="4"/>
        <pc:sldMkLst>
          <pc:docMk/>
          <pc:sldMk cId="3888540030" sldId="2146846088"/>
        </pc:sldMkLst>
        <pc:picChg chg="del">
          <ac:chgData name="Votava, Willi" userId="S::willi.votava_digital-innovation.com#ext#@sap.onmicrosoft.com::0d7bf0b2-3e81-499d-970a-c4e2674b5e53" providerId="AD" clId="Web-{D5CCE85F-DB00-4B54-558A-850DF98FD62C}" dt="2021-03-05T13:24:12.630" v="4"/>
          <ac:picMkLst>
            <pc:docMk/>
            <pc:sldMk cId="3888540030" sldId="2146846088"/>
            <ac:picMk id="3" creationId="{03E7171C-81ED-4918-BF44-DBAC8D20BE4C}"/>
          </ac:picMkLst>
        </pc:picChg>
        <pc:picChg chg="add mod ord">
          <ac:chgData name="Votava, Willi" userId="S::willi.votava_digital-innovation.com#ext#@sap.onmicrosoft.com::0d7bf0b2-3e81-499d-970a-c4e2674b5e53" providerId="AD" clId="Web-{D5CCE85F-DB00-4B54-558A-850DF98FD62C}" dt="2021-03-05T13:24:05.443" v="3"/>
          <ac:picMkLst>
            <pc:docMk/>
            <pc:sldMk cId="3888540030" sldId="2146846088"/>
            <ac:picMk id="4" creationId="{2676B7DE-0A14-4F1F-A623-FD76B8C64465}"/>
          </ac:picMkLst>
        </pc:picChg>
      </pc:sldChg>
      <pc:sldChg chg="addSp delSp modSp">
        <pc:chgData name="Votava, Willi" userId="S::willi.votava_digital-innovation.com#ext#@sap.onmicrosoft.com::0d7bf0b2-3e81-499d-970a-c4e2674b5e53" providerId="AD" clId="Web-{D5CCE85F-DB00-4B54-558A-850DF98FD62C}" dt="2021-03-05T13:24:49.694" v="10"/>
        <pc:sldMkLst>
          <pc:docMk/>
          <pc:sldMk cId="128430995" sldId="2146846106"/>
        </pc:sldMkLst>
        <pc:picChg chg="add mod ord">
          <ac:chgData name="Votava, Willi" userId="S::willi.votava_digital-innovation.com#ext#@sap.onmicrosoft.com::0d7bf0b2-3e81-499d-970a-c4e2674b5e53" providerId="AD" clId="Web-{D5CCE85F-DB00-4B54-558A-850DF98FD62C}" dt="2021-03-05T13:24:47.334" v="9"/>
          <ac:picMkLst>
            <pc:docMk/>
            <pc:sldMk cId="128430995" sldId="2146846106"/>
            <ac:picMk id="3" creationId="{6F85C27F-D349-4939-B29F-FAF8B5314E1A}"/>
          </ac:picMkLst>
        </pc:picChg>
        <pc:picChg chg="del">
          <ac:chgData name="Votava, Willi" userId="S::willi.votava_digital-innovation.com#ext#@sap.onmicrosoft.com::0d7bf0b2-3e81-499d-970a-c4e2674b5e53" providerId="AD" clId="Web-{D5CCE85F-DB00-4B54-558A-850DF98FD62C}" dt="2021-03-05T13:24:49.694" v="10"/>
          <ac:picMkLst>
            <pc:docMk/>
            <pc:sldMk cId="128430995" sldId="2146846106"/>
            <ac:picMk id="4" creationId="{250A4088-6FB1-5A4F-913A-7B51EB73A04E}"/>
          </ac:picMkLst>
        </pc:picChg>
      </pc:sldChg>
      <pc:sldChg chg="addSp delSp modSp">
        <pc:chgData name="Votava, Willi" userId="S::willi.votava_digital-innovation.com#ext#@sap.onmicrosoft.com::0d7bf0b2-3e81-499d-970a-c4e2674b5e53" providerId="AD" clId="Web-{D5CCE85F-DB00-4B54-558A-850DF98FD62C}" dt="2021-03-05T13:25:18.101" v="16" actId="14100"/>
        <pc:sldMkLst>
          <pc:docMk/>
          <pc:sldMk cId="1001232103" sldId="2146846110"/>
        </pc:sldMkLst>
        <pc:picChg chg="add mod">
          <ac:chgData name="Votava, Willi" userId="S::willi.votava_digital-innovation.com#ext#@sap.onmicrosoft.com::0d7bf0b2-3e81-499d-970a-c4e2674b5e53" providerId="AD" clId="Web-{D5CCE85F-DB00-4B54-558A-850DF98FD62C}" dt="2021-03-05T13:25:18.101" v="16" actId="14100"/>
          <ac:picMkLst>
            <pc:docMk/>
            <pc:sldMk cId="1001232103" sldId="2146846110"/>
            <ac:picMk id="3" creationId="{CB638C3D-B724-4C87-958F-B0C765F354E9}"/>
          </ac:picMkLst>
        </pc:picChg>
        <pc:picChg chg="del">
          <ac:chgData name="Votava, Willi" userId="S::willi.votava_digital-innovation.com#ext#@sap.onmicrosoft.com::0d7bf0b2-3e81-499d-970a-c4e2674b5e53" providerId="AD" clId="Web-{D5CCE85F-DB00-4B54-558A-850DF98FD62C}" dt="2021-03-05T13:24:57.460" v="11"/>
          <ac:picMkLst>
            <pc:docMk/>
            <pc:sldMk cId="1001232103" sldId="2146846110"/>
            <ac:picMk id="9" creationId="{26896678-6B56-9F44-8989-E1F8CED5E3AB}"/>
          </ac:picMkLst>
        </pc:picChg>
      </pc:sldChg>
    </pc:docChg>
  </pc:docChgLst>
  <pc:docChgLst>
    <pc:chgData name="Votava, Willi" userId="S::willi.votava_digital-innovation.com#ext#@sap.onmicrosoft.com::0d7bf0b2-3e81-499d-970a-c4e2674b5e53" providerId="AD" clId="Web-{551B2915-20B2-79C7-FA58-1ECA2A1155F2}"/>
    <pc:docChg chg="modSld">
      <pc:chgData name="Votava, Willi" userId="S::willi.votava_digital-innovation.com#ext#@sap.onmicrosoft.com::0d7bf0b2-3e81-499d-970a-c4e2674b5e53" providerId="AD" clId="Web-{551B2915-20B2-79C7-FA58-1ECA2A1155F2}" dt="2021-03-29T09:14:16.381" v="32" actId="1076"/>
      <pc:docMkLst>
        <pc:docMk/>
      </pc:docMkLst>
      <pc:sldChg chg="modSp">
        <pc:chgData name="Votava, Willi" userId="S::willi.votava_digital-innovation.com#ext#@sap.onmicrosoft.com::0d7bf0b2-3e81-499d-970a-c4e2674b5e53" providerId="AD" clId="Web-{551B2915-20B2-79C7-FA58-1ECA2A1155F2}" dt="2021-03-29T09:10:21.470" v="0"/>
        <pc:sldMkLst>
          <pc:docMk/>
          <pc:sldMk cId="3888540030" sldId="2146846088"/>
        </pc:sldMkLst>
        <pc:picChg chg="mod">
          <ac:chgData name="Votava, Willi" userId="S::willi.votava_digital-innovation.com#ext#@sap.onmicrosoft.com::0d7bf0b2-3e81-499d-970a-c4e2674b5e53" providerId="AD" clId="Web-{551B2915-20B2-79C7-FA58-1ECA2A1155F2}" dt="2021-03-29T09:10:21.470" v="0"/>
          <ac:picMkLst>
            <pc:docMk/>
            <pc:sldMk cId="3888540030" sldId="2146846088"/>
            <ac:picMk id="4" creationId="{2676B7DE-0A14-4F1F-A623-FD76B8C64465}"/>
          </ac:picMkLst>
        </pc:picChg>
      </pc:sldChg>
      <pc:sldChg chg="addSp delSp modSp">
        <pc:chgData name="Votava, Willi" userId="S::willi.votava_digital-innovation.com#ext#@sap.onmicrosoft.com::0d7bf0b2-3e81-499d-970a-c4e2674b5e53" providerId="AD" clId="Web-{551B2915-20B2-79C7-FA58-1ECA2A1155F2}" dt="2021-03-29T09:12:58.598" v="22"/>
        <pc:sldMkLst>
          <pc:docMk/>
          <pc:sldMk cId="3392075530" sldId="2146846108"/>
        </pc:sldMkLst>
        <pc:picChg chg="add del">
          <ac:chgData name="Votava, Willi" userId="S::willi.votava_digital-innovation.com#ext#@sap.onmicrosoft.com::0d7bf0b2-3e81-499d-970a-c4e2674b5e53" providerId="AD" clId="Web-{551B2915-20B2-79C7-FA58-1ECA2A1155F2}" dt="2021-03-29T09:12:58.598" v="22"/>
          <ac:picMkLst>
            <pc:docMk/>
            <pc:sldMk cId="3392075530" sldId="2146846108"/>
            <ac:picMk id="3" creationId="{78F5B0BD-C520-49F0-B915-67BFD73342C3}"/>
          </ac:picMkLst>
        </pc:picChg>
        <pc:picChg chg="add mod ord modCrop">
          <ac:chgData name="Votava, Willi" userId="S::willi.votava_digital-innovation.com#ext#@sap.onmicrosoft.com::0d7bf0b2-3e81-499d-970a-c4e2674b5e53" providerId="AD" clId="Web-{551B2915-20B2-79C7-FA58-1ECA2A1155F2}" dt="2021-03-29T09:12:26.738" v="13"/>
          <ac:picMkLst>
            <pc:docMk/>
            <pc:sldMk cId="3392075530" sldId="2146846108"/>
            <ac:picMk id="4" creationId="{B4A758CB-0D1A-4FE8-AED7-07282725B01F}"/>
          </ac:picMkLst>
        </pc:picChg>
      </pc:sldChg>
      <pc:sldChg chg="addSp delSp modSp">
        <pc:chgData name="Votava, Willi" userId="S::willi.votava_digital-innovation.com#ext#@sap.onmicrosoft.com::0d7bf0b2-3e81-499d-970a-c4e2674b5e53" providerId="AD" clId="Web-{551B2915-20B2-79C7-FA58-1ECA2A1155F2}" dt="2021-03-29T09:14:16.381" v="32" actId="1076"/>
        <pc:sldMkLst>
          <pc:docMk/>
          <pc:sldMk cId="3421603444" sldId="2146846109"/>
        </pc:sldMkLst>
        <pc:picChg chg="add del">
          <ac:chgData name="Votava, Willi" userId="S::willi.votava_digital-innovation.com#ext#@sap.onmicrosoft.com::0d7bf0b2-3e81-499d-970a-c4e2674b5e53" providerId="AD" clId="Web-{551B2915-20B2-79C7-FA58-1ECA2A1155F2}" dt="2021-03-29T09:13:03.583" v="23"/>
          <ac:picMkLst>
            <pc:docMk/>
            <pc:sldMk cId="3421603444" sldId="2146846109"/>
            <ac:picMk id="3" creationId="{DEF74242-78F7-4873-B5F4-05EAFB37813C}"/>
          </ac:picMkLst>
        </pc:picChg>
        <pc:picChg chg="add del mod">
          <ac:chgData name="Votava, Willi" userId="S::willi.votava_digital-innovation.com#ext#@sap.onmicrosoft.com::0d7bf0b2-3e81-499d-970a-c4e2674b5e53" providerId="AD" clId="Web-{551B2915-20B2-79C7-FA58-1ECA2A1155F2}" dt="2021-03-29T09:12:48.129" v="19"/>
          <ac:picMkLst>
            <pc:docMk/>
            <pc:sldMk cId="3421603444" sldId="2146846109"/>
            <ac:picMk id="4" creationId="{16363005-2477-4A6C-8A9D-8B4C726AE005}"/>
          </ac:picMkLst>
        </pc:picChg>
        <pc:picChg chg="add mod modCrop">
          <ac:chgData name="Votava, Willi" userId="S::willi.votava_digital-innovation.com#ext#@sap.onmicrosoft.com::0d7bf0b2-3e81-499d-970a-c4e2674b5e53" providerId="AD" clId="Web-{551B2915-20B2-79C7-FA58-1ECA2A1155F2}" dt="2021-03-29T09:14:16.381" v="32" actId="1076"/>
          <ac:picMkLst>
            <pc:docMk/>
            <pc:sldMk cId="3421603444" sldId="2146846109"/>
            <ac:picMk id="6" creationId="{865031ED-1660-4A7A-B7F2-5ACC9668B896}"/>
          </ac:picMkLst>
        </pc:picChg>
      </pc:sldChg>
      <pc:sldChg chg="modSp">
        <pc:chgData name="Votava, Willi" userId="S::willi.votava_digital-innovation.com#ext#@sap.onmicrosoft.com::0d7bf0b2-3e81-499d-970a-c4e2674b5e53" providerId="AD" clId="Web-{551B2915-20B2-79C7-FA58-1ECA2A1155F2}" dt="2021-03-29T09:10:40.126" v="1"/>
        <pc:sldMkLst>
          <pc:docMk/>
          <pc:sldMk cId="2778682060" sldId="2146846564"/>
        </pc:sldMkLst>
        <pc:picChg chg="mod">
          <ac:chgData name="Votava, Willi" userId="S::willi.votava_digital-innovation.com#ext#@sap.onmicrosoft.com::0d7bf0b2-3e81-499d-970a-c4e2674b5e53" providerId="AD" clId="Web-{551B2915-20B2-79C7-FA58-1ECA2A1155F2}" dt="2021-03-29T09:10:40.126" v="1"/>
          <ac:picMkLst>
            <pc:docMk/>
            <pc:sldMk cId="2778682060" sldId="2146846564"/>
            <ac:picMk id="4" creationId="{D2F65742-CCE2-489A-9122-4250DC70BC7F}"/>
          </ac:picMkLst>
        </pc:picChg>
      </pc:sldChg>
    </pc:docChg>
  </pc:docChgLst>
  <pc:docChgLst>
    <pc:chgData name="Votava, Willi" userId="S::willi.votava_digital-innovation.com#ext#@sap.onmicrosoft.com::0d7bf0b2-3e81-499d-970a-c4e2674b5e53" providerId="AD" clId="Web-{C4BE993B-0FE8-5731-7326-446B88A557D3}"/>
    <pc:docChg chg="modSld">
      <pc:chgData name="Votava, Willi" userId="S::willi.votava_digital-innovation.com#ext#@sap.onmicrosoft.com::0d7bf0b2-3e81-499d-970a-c4e2674b5e53" providerId="AD" clId="Web-{C4BE993B-0FE8-5731-7326-446B88A557D3}" dt="2021-03-03T14:28:48.086" v="13"/>
      <pc:docMkLst>
        <pc:docMk/>
      </pc:docMkLst>
      <pc:sldChg chg="addSp delSp modSp">
        <pc:chgData name="Votava, Willi" userId="S::willi.votava_digital-innovation.com#ext#@sap.onmicrosoft.com::0d7bf0b2-3e81-499d-970a-c4e2674b5e53" providerId="AD" clId="Web-{C4BE993B-0FE8-5731-7326-446B88A557D3}" dt="2021-03-03T14:26:56.985" v="4"/>
        <pc:sldMkLst>
          <pc:docMk/>
          <pc:sldMk cId="3888540030" sldId="2146846088"/>
        </pc:sldMkLst>
        <pc:picChg chg="add mod ord">
          <ac:chgData name="Votava, Willi" userId="S::willi.votava_digital-innovation.com#ext#@sap.onmicrosoft.com::0d7bf0b2-3e81-499d-970a-c4e2674b5e53" providerId="AD" clId="Web-{C4BE993B-0FE8-5731-7326-446B88A557D3}" dt="2021-03-03T14:26:50.688" v="3"/>
          <ac:picMkLst>
            <pc:docMk/>
            <pc:sldMk cId="3888540030" sldId="2146846088"/>
            <ac:picMk id="3" creationId="{03E7171C-81ED-4918-BF44-DBAC8D20BE4C}"/>
          </ac:picMkLst>
        </pc:picChg>
        <pc:picChg chg="del">
          <ac:chgData name="Votava, Willi" userId="S::willi.votava_digital-innovation.com#ext#@sap.onmicrosoft.com::0d7bf0b2-3e81-499d-970a-c4e2674b5e53" providerId="AD" clId="Web-{C4BE993B-0FE8-5731-7326-446B88A557D3}" dt="2021-03-03T14:26:56.985" v="4"/>
          <ac:picMkLst>
            <pc:docMk/>
            <pc:sldMk cId="3888540030" sldId="2146846088"/>
            <ac:picMk id="5" creationId="{CFA33F1D-17CD-E749-A510-84B9F253E6F1}"/>
          </ac:picMkLst>
        </pc:picChg>
      </pc:sldChg>
      <pc:sldChg chg="addSp delSp modSp">
        <pc:chgData name="Votava, Willi" userId="S::willi.votava_digital-innovation.com#ext#@sap.onmicrosoft.com::0d7bf0b2-3e81-499d-970a-c4e2674b5e53" providerId="AD" clId="Web-{C4BE993B-0FE8-5731-7326-446B88A557D3}" dt="2021-03-03T14:28:48.086" v="13"/>
        <pc:sldMkLst>
          <pc:docMk/>
          <pc:sldMk cId="3421603444" sldId="2146846109"/>
        </pc:sldMkLst>
        <pc:picChg chg="add mod modCrop">
          <ac:chgData name="Votava, Willi" userId="S::willi.votava_digital-innovation.com#ext#@sap.onmicrosoft.com::0d7bf0b2-3e81-499d-970a-c4e2674b5e53" providerId="AD" clId="Web-{C4BE993B-0FE8-5731-7326-446B88A557D3}" dt="2021-03-03T14:28:45.476" v="12" actId="1076"/>
          <ac:picMkLst>
            <pc:docMk/>
            <pc:sldMk cId="3421603444" sldId="2146846109"/>
            <ac:picMk id="3" creationId="{DEF74242-78F7-4873-B5F4-05EAFB37813C}"/>
          </ac:picMkLst>
        </pc:picChg>
        <pc:picChg chg="del">
          <ac:chgData name="Votava, Willi" userId="S::willi.votava_digital-innovation.com#ext#@sap.onmicrosoft.com::0d7bf0b2-3e81-499d-970a-c4e2674b5e53" providerId="AD" clId="Web-{C4BE993B-0FE8-5731-7326-446B88A557D3}" dt="2021-03-03T14:28:48.086" v="13"/>
          <ac:picMkLst>
            <pc:docMk/>
            <pc:sldMk cId="3421603444" sldId="2146846109"/>
            <ac:picMk id="8" creationId="{A6ACF141-FFA7-3E43-9F2F-12A3E935CE58}"/>
          </ac:picMkLst>
        </pc:picChg>
      </pc:sldChg>
      <pc:sldChg chg="modSp">
        <pc:chgData name="Votava, Willi" userId="S::willi.votava_digital-innovation.com#ext#@sap.onmicrosoft.com::0d7bf0b2-3e81-499d-970a-c4e2674b5e53" providerId="AD" clId="Web-{C4BE993B-0FE8-5731-7326-446B88A557D3}" dt="2021-03-03T14:27:36.941" v="5"/>
        <pc:sldMkLst>
          <pc:docMk/>
          <pc:sldMk cId="2778682060" sldId="2146846564"/>
        </pc:sldMkLst>
        <pc:picChg chg="mod">
          <ac:chgData name="Votava, Willi" userId="S::willi.votava_digital-innovation.com#ext#@sap.onmicrosoft.com::0d7bf0b2-3e81-499d-970a-c4e2674b5e53" providerId="AD" clId="Web-{C4BE993B-0FE8-5731-7326-446B88A557D3}" dt="2021-03-03T14:27:36.941" v="5"/>
          <ac:picMkLst>
            <pc:docMk/>
            <pc:sldMk cId="2778682060" sldId="2146846564"/>
            <ac:picMk id="4" creationId="{D2F65742-CCE2-489A-9122-4250DC70BC7F}"/>
          </ac:picMkLst>
        </pc:picChg>
      </pc:sldChg>
    </pc:docChg>
  </pc:docChgLst>
  <pc:docChgLst>
    <pc:chgData name="Marcotte, Bill" userId="S::bill.marcotte@sap.com::db669ace-0618-4c90-8701-9cdd2bb838e2" providerId="AD" clId="Web-{A29584B3-ABA3-644F-8E7F-34231274FC8F}"/>
    <pc:docChg chg="modSld">
      <pc:chgData name="Marcotte, Bill" userId="S::bill.marcotte@sap.com::db669ace-0618-4c90-8701-9cdd2bb838e2" providerId="AD" clId="Web-{A29584B3-ABA3-644F-8E7F-34231274FC8F}" dt="2021-02-12T14:23:02.876" v="0" actId="14100"/>
      <pc:docMkLst>
        <pc:docMk/>
      </pc:docMkLst>
      <pc:sldChg chg="modSp">
        <pc:chgData name="Marcotte, Bill" userId="S::bill.marcotte@sap.com::db669ace-0618-4c90-8701-9cdd2bb838e2" providerId="AD" clId="Web-{A29584B3-ABA3-644F-8E7F-34231274FC8F}" dt="2021-02-12T14:23:02.876" v="0" actId="14100"/>
        <pc:sldMkLst>
          <pc:docMk/>
          <pc:sldMk cId="1001232103" sldId="2146846110"/>
        </pc:sldMkLst>
        <pc:picChg chg="mod">
          <ac:chgData name="Marcotte, Bill" userId="S::bill.marcotte@sap.com::db669ace-0618-4c90-8701-9cdd2bb838e2" providerId="AD" clId="Web-{A29584B3-ABA3-644F-8E7F-34231274FC8F}" dt="2021-02-12T14:23:02.876" v="0" actId="14100"/>
          <ac:picMkLst>
            <pc:docMk/>
            <pc:sldMk cId="1001232103" sldId="2146846110"/>
            <ac:picMk id="9" creationId="{26896678-6B56-9F44-8989-E1F8CED5E3AB}"/>
          </ac:picMkLst>
        </pc:picChg>
      </pc:sldChg>
    </pc:docChg>
  </pc:docChgLst>
  <pc:docChgLst>
    <pc:chgData name="Marcotte, Bill" userId="S::bill.marcotte@sap.com::db669ace-0618-4c90-8701-9cdd2bb838e2" providerId="AD" clId="Web-{382F8545-2CCC-0085-EB52-E3D75A1587C9}"/>
    <pc:docChg chg="modSld">
      <pc:chgData name="Marcotte, Bill" userId="S::bill.marcotte@sap.com::db669ace-0618-4c90-8701-9cdd2bb838e2" providerId="AD" clId="Web-{382F8545-2CCC-0085-EB52-E3D75A1587C9}" dt="2021-02-04T00:12:26.738" v="1"/>
      <pc:docMkLst>
        <pc:docMk/>
      </pc:docMkLst>
      <pc:sldChg chg="modSp">
        <pc:chgData name="Marcotte, Bill" userId="S::bill.marcotte@sap.com::db669ace-0618-4c90-8701-9cdd2bb838e2" providerId="AD" clId="Web-{382F8545-2CCC-0085-EB52-E3D75A1587C9}" dt="2021-02-04T00:09:42.070" v="0" actId="1076"/>
        <pc:sldMkLst>
          <pc:docMk/>
          <pc:sldMk cId="1001232103" sldId="2146846110"/>
        </pc:sldMkLst>
        <pc:picChg chg="mod">
          <ac:chgData name="Marcotte, Bill" userId="S::bill.marcotte@sap.com::db669ace-0618-4c90-8701-9cdd2bb838e2" providerId="AD" clId="Web-{382F8545-2CCC-0085-EB52-E3D75A1587C9}" dt="2021-02-04T00:09:42.070" v="0" actId="1076"/>
          <ac:picMkLst>
            <pc:docMk/>
            <pc:sldMk cId="1001232103" sldId="2146846110"/>
            <ac:picMk id="9" creationId="{26896678-6B56-9F44-8989-E1F8CED5E3AB}"/>
          </ac:picMkLst>
        </pc:picChg>
      </pc:sldChg>
      <pc:sldChg chg="addCm">
        <pc:chgData name="Marcotte, Bill" userId="S::bill.marcotte@sap.com::db669ace-0618-4c90-8701-9cdd2bb838e2" providerId="AD" clId="Web-{382F8545-2CCC-0085-EB52-E3D75A1587C9}" dt="2021-02-04T00:12:26.738" v="1"/>
        <pc:sldMkLst>
          <pc:docMk/>
          <pc:sldMk cId="2734395519" sldId="2146846113"/>
        </pc:sldMkLst>
      </pc:sldChg>
    </pc:docChg>
  </pc:docChgLst>
  <pc:docChgLst>
    <pc:chgData name="Votava, Willi" userId="S::willi.votava_digital-innovation.com#ext#@sap.onmicrosoft.com::0d7bf0b2-3e81-499d-970a-c4e2674b5e53" providerId="AD" clId="Web-{1AD1B49F-2091-2000-AC6A-918B343F98DC}"/>
    <pc:docChg chg="modSld">
      <pc:chgData name="Votava, Willi" userId="S::willi.votava_digital-innovation.com#ext#@sap.onmicrosoft.com::0d7bf0b2-3e81-499d-970a-c4e2674b5e53" providerId="AD" clId="Web-{1AD1B49F-2091-2000-AC6A-918B343F98DC}" dt="2021-03-16T11:56:38.008" v="0"/>
      <pc:docMkLst>
        <pc:docMk/>
      </pc:docMkLst>
      <pc:sldChg chg="modSp">
        <pc:chgData name="Votava, Willi" userId="S::willi.votava_digital-innovation.com#ext#@sap.onmicrosoft.com::0d7bf0b2-3e81-499d-970a-c4e2674b5e53" providerId="AD" clId="Web-{1AD1B49F-2091-2000-AC6A-918B343F98DC}" dt="2021-03-16T11:56:38.008" v="0"/>
        <pc:sldMkLst>
          <pc:docMk/>
          <pc:sldMk cId="3888540030" sldId="2146846088"/>
        </pc:sldMkLst>
        <pc:picChg chg="mod">
          <ac:chgData name="Votava, Willi" userId="S::willi.votava_digital-innovation.com#ext#@sap.onmicrosoft.com::0d7bf0b2-3e81-499d-970a-c4e2674b5e53" providerId="AD" clId="Web-{1AD1B49F-2091-2000-AC6A-918B343F98DC}" dt="2021-03-16T11:56:38.008" v="0"/>
          <ac:picMkLst>
            <pc:docMk/>
            <pc:sldMk cId="3888540030" sldId="2146846088"/>
            <ac:picMk id="4" creationId="{2676B7DE-0A14-4F1F-A623-FD76B8C64465}"/>
          </ac:picMkLst>
        </pc:picChg>
      </pc:sldChg>
    </pc:docChg>
  </pc:docChgLst>
  <pc:docChgLst>
    <pc:chgData name="McCavour, Brian" userId="S::brian.mccavour@sap.com::32f04c59-1a45-4702-8500-d54654a2bb73" providerId="AD" clId="Web-{3C67470A-B6B6-4D69-BB99-485323218EDA}"/>
    <pc:docChg chg="modSld">
      <pc:chgData name="McCavour, Brian" userId="S::brian.mccavour@sap.com::32f04c59-1a45-4702-8500-d54654a2bb73" providerId="AD" clId="Web-{3C67470A-B6B6-4D69-BB99-485323218EDA}" dt="2021-02-01T13:39:48.727" v="1" actId="14100"/>
      <pc:docMkLst>
        <pc:docMk/>
      </pc:docMkLst>
      <pc:sldChg chg="modSp">
        <pc:chgData name="McCavour, Brian" userId="S::brian.mccavour@sap.com::32f04c59-1a45-4702-8500-d54654a2bb73" providerId="AD" clId="Web-{3C67470A-B6B6-4D69-BB99-485323218EDA}" dt="2021-02-01T13:39:48.727" v="1" actId="14100"/>
        <pc:sldMkLst>
          <pc:docMk/>
          <pc:sldMk cId="1001232103" sldId="2146846110"/>
        </pc:sldMkLst>
        <pc:picChg chg="mod">
          <ac:chgData name="McCavour, Brian" userId="S::brian.mccavour@sap.com::32f04c59-1a45-4702-8500-d54654a2bb73" providerId="AD" clId="Web-{3C67470A-B6B6-4D69-BB99-485323218EDA}" dt="2021-02-01T13:39:48.727" v="1" actId="14100"/>
          <ac:picMkLst>
            <pc:docMk/>
            <pc:sldMk cId="1001232103" sldId="2146846110"/>
            <ac:picMk id="9" creationId="{26896678-6B56-9F44-8989-E1F8CED5E3AB}"/>
          </ac:picMkLst>
        </pc:picChg>
      </pc:sldChg>
    </pc:docChg>
  </pc:docChgLst>
  <pc:docChgLst>
    <pc:chgData name="Wu, Poseidon" userId="S::poseidon.wu@sap.com::162e10a5-2d99-417b-b750-3e409dbecc5b" providerId="AD" clId="Web-{D66E8D65-F73B-411F-A62B-EDD98E591A56}"/>
    <pc:docChg chg="modSld">
      <pc:chgData name="Wu, Poseidon" userId="S::poseidon.wu@sap.com::162e10a5-2d99-417b-b750-3e409dbecc5b" providerId="AD" clId="Web-{D66E8D65-F73B-411F-A62B-EDD98E591A56}" dt="2021-01-29T02:28:57.973" v="8" actId="1076"/>
      <pc:docMkLst>
        <pc:docMk/>
      </pc:docMkLst>
      <pc:sldChg chg="modSp">
        <pc:chgData name="Wu, Poseidon" userId="S::poseidon.wu@sap.com::162e10a5-2d99-417b-b750-3e409dbecc5b" providerId="AD" clId="Web-{D66E8D65-F73B-411F-A62B-EDD98E591A56}" dt="2021-01-29T02:28:57.973" v="8" actId="1076"/>
        <pc:sldMkLst>
          <pc:docMk/>
          <pc:sldMk cId="3888540030" sldId="2146846088"/>
        </pc:sldMkLst>
        <pc:picChg chg="mod">
          <ac:chgData name="Wu, Poseidon" userId="S::poseidon.wu@sap.com::162e10a5-2d99-417b-b750-3e409dbecc5b" providerId="AD" clId="Web-{D66E8D65-F73B-411F-A62B-EDD98E591A56}" dt="2021-01-29T02:28:57.973" v="8" actId="1076"/>
          <ac:picMkLst>
            <pc:docMk/>
            <pc:sldMk cId="3888540030" sldId="2146846088"/>
            <ac:picMk id="4" creationId="{66DAC412-5E87-3641-9916-94DD8950E969}"/>
          </ac:picMkLst>
        </pc:picChg>
      </pc:sldChg>
    </pc:docChg>
  </pc:docChgLst>
  <pc:docChgLst>
    <pc:chgData name="Ouwejan, Tobias" userId="04f69cf6-b783-45e9-9dc7-11321b75a121" providerId="ADAL" clId="{ECE53DA1-ACCD-8F47-80E3-E37DE2F5CEBE}"/>
    <pc:docChg chg="modSld">
      <pc:chgData name="Ouwejan, Tobias" userId="04f69cf6-b783-45e9-9dc7-11321b75a121" providerId="ADAL" clId="{ECE53DA1-ACCD-8F47-80E3-E37DE2F5CEBE}" dt="2021-01-29T12:13:50.512" v="0" actId="1076"/>
      <pc:docMkLst>
        <pc:docMk/>
      </pc:docMkLst>
      <pc:sldChg chg="modSp mod">
        <pc:chgData name="Ouwejan, Tobias" userId="04f69cf6-b783-45e9-9dc7-11321b75a121" providerId="ADAL" clId="{ECE53DA1-ACCD-8F47-80E3-E37DE2F5CEBE}" dt="2021-01-29T12:13:50.512" v="0" actId="1076"/>
        <pc:sldMkLst>
          <pc:docMk/>
          <pc:sldMk cId="2807881975" sldId="2146846107"/>
        </pc:sldMkLst>
        <pc:picChg chg="mod">
          <ac:chgData name="Ouwejan, Tobias" userId="04f69cf6-b783-45e9-9dc7-11321b75a121" providerId="ADAL" clId="{ECE53DA1-ACCD-8F47-80E3-E37DE2F5CEBE}" dt="2021-01-29T12:13:50.512" v="0" actId="1076"/>
          <ac:picMkLst>
            <pc:docMk/>
            <pc:sldMk cId="2807881975" sldId="2146846107"/>
            <ac:picMk id="13" creationId="{3040D29E-E7C6-4F4F-BD8E-DF2CF1C2AF84}"/>
          </ac:picMkLst>
        </pc:picChg>
      </pc:sldChg>
    </pc:docChg>
  </pc:docChgLst>
  <pc:docChgLst>
    <pc:chgData name="Matthias, Ian" userId="d9976e04-c202-46cc-a362-78388d670ceb" providerId="ADAL" clId="{71BF1795-674A-4741-8E53-4547C1A9BD0A}"/>
    <pc:docChg chg="modSld">
      <pc:chgData name="Matthias, Ian" userId="d9976e04-c202-46cc-a362-78388d670ceb" providerId="ADAL" clId="{71BF1795-674A-4741-8E53-4547C1A9BD0A}" dt="2021-02-01T11:19:24.885" v="1" actId="571"/>
      <pc:docMkLst>
        <pc:docMk/>
      </pc:docMkLst>
      <pc:sldChg chg="addSp modSp">
        <pc:chgData name="Matthias, Ian" userId="d9976e04-c202-46cc-a362-78388d670ceb" providerId="ADAL" clId="{71BF1795-674A-4741-8E53-4547C1A9BD0A}" dt="2021-02-01T11:19:24.885" v="1" actId="571"/>
        <pc:sldMkLst>
          <pc:docMk/>
          <pc:sldMk cId="128430995" sldId="2146846106"/>
        </pc:sldMkLst>
        <pc:picChg chg="add mod">
          <ac:chgData name="Matthias, Ian" userId="d9976e04-c202-46cc-a362-78388d670ceb" providerId="ADAL" clId="{71BF1795-674A-4741-8E53-4547C1A9BD0A}" dt="2021-02-01T11:19:24.885" v="1" actId="571"/>
          <ac:picMkLst>
            <pc:docMk/>
            <pc:sldMk cId="128430995" sldId="2146846106"/>
            <ac:picMk id="5" creationId="{9FF0F902-1B8B-454F-9EAD-9ADAC51E6CEB}"/>
          </ac:picMkLst>
        </pc:pic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_rels/data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_rels/drawing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CC2E99-A433-4D9E-BA2D-CA8A04B951CB}"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DE3C34EF-1036-442B-A9B9-FB2152D4A9DD}">
      <dgm:prSet/>
      <dgm:spPr/>
      <dgm:t>
        <a:bodyPr/>
        <a:lstStyle/>
        <a:p>
          <a:pPr>
            <a:lnSpc>
              <a:spcPct val="100000"/>
            </a:lnSpc>
          </a:pPr>
          <a:r>
            <a:rPr lang="en-DE"/>
            <a:t>25 years of continious innovation</a:t>
          </a:r>
          <a:endParaRPr lang="en-US"/>
        </a:p>
      </dgm:t>
    </dgm:pt>
    <dgm:pt modelId="{DE1E7C3B-1AD3-4F73-98F7-18DA72B55E6F}" type="parTrans" cxnId="{C77F8792-41D9-43CB-8C6C-0B64A7C0A102}">
      <dgm:prSet/>
      <dgm:spPr/>
      <dgm:t>
        <a:bodyPr/>
        <a:lstStyle/>
        <a:p>
          <a:endParaRPr lang="en-US"/>
        </a:p>
      </dgm:t>
    </dgm:pt>
    <dgm:pt modelId="{21F599CA-D087-42BB-8C96-8E9DE567C909}" type="sibTrans" cxnId="{C77F8792-41D9-43CB-8C6C-0B64A7C0A102}">
      <dgm:prSet/>
      <dgm:spPr/>
      <dgm:t>
        <a:bodyPr/>
        <a:lstStyle/>
        <a:p>
          <a:endParaRPr lang="en-US"/>
        </a:p>
      </dgm:t>
    </dgm:pt>
    <dgm:pt modelId="{40DBF775-0CC4-4B31-A9E7-560D2EF30795}">
      <dgm:prSet/>
      <dgm:spPr/>
      <dgm:t>
        <a:bodyPr/>
        <a:lstStyle/>
        <a:p>
          <a:pPr>
            <a:lnSpc>
              <a:spcPct val="100000"/>
            </a:lnSpc>
          </a:pPr>
          <a:r>
            <a:rPr lang="en-DE"/>
            <a:t>Broad customer adoption </a:t>
          </a:r>
          <a:endParaRPr lang="en-US"/>
        </a:p>
      </dgm:t>
    </dgm:pt>
    <dgm:pt modelId="{89C65D98-2989-4FE8-B671-50C6A8318E56}" type="parTrans" cxnId="{68F0914D-C87F-4C75-807B-A4EA6BB5B7C5}">
      <dgm:prSet/>
      <dgm:spPr/>
      <dgm:t>
        <a:bodyPr/>
        <a:lstStyle/>
        <a:p>
          <a:endParaRPr lang="en-US"/>
        </a:p>
      </dgm:t>
    </dgm:pt>
    <dgm:pt modelId="{FECD9BE8-2AA3-4302-AF96-EBDB6E11912C}" type="sibTrans" cxnId="{68F0914D-C87F-4C75-807B-A4EA6BB5B7C5}">
      <dgm:prSet/>
      <dgm:spPr/>
      <dgm:t>
        <a:bodyPr/>
        <a:lstStyle/>
        <a:p>
          <a:endParaRPr lang="en-US"/>
        </a:p>
      </dgm:t>
    </dgm:pt>
    <dgm:pt modelId="{5A68575D-8E60-4BB1-99E6-940A83A73C12}">
      <dgm:prSet/>
      <dgm:spPr/>
      <dgm:t>
        <a:bodyPr/>
        <a:lstStyle/>
        <a:p>
          <a:pPr>
            <a:lnSpc>
              <a:spcPct val="100000"/>
            </a:lnSpc>
          </a:pPr>
          <a:r>
            <a:rPr lang="en-DE"/>
            <a:t>Rich community and ecosystems</a:t>
          </a:r>
          <a:endParaRPr lang="en-US"/>
        </a:p>
      </dgm:t>
    </dgm:pt>
    <dgm:pt modelId="{06F7501F-7673-462E-AA71-94FC807FC711}" type="parTrans" cxnId="{83BB9687-8902-4AB2-B977-5BC4EB146ADC}">
      <dgm:prSet/>
      <dgm:spPr/>
      <dgm:t>
        <a:bodyPr/>
        <a:lstStyle/>
        <a:p>
          <a:endParaRPr lang="en-US"/>
        </a:p>
      </dgm:t>
    </dgm:pt>
    <dgm:pt modelId="{920D5CC3-BFC0-408C-9EEB-F39C76072770}" type="sibTrans" cxnId="{83BB9687-8902-4AB2-B977-5BC4EB146ADC}">
      <dgm:prSet/>
      <dgm:spPr/>
      <dgm:t>
        <a:bodyPr/>
        <a:lstStyle/>
        <a:p>
          <a:endParaRPr lang="en-US"/>
        </a:p>
      </dgm:t>
    </dgm:pt>
    <dgm:pt modelId="{3AAA9DAA-21C4-4F05-BD09-218AF615C01D}">
      <dgm:prSet/>
      <dgm:spPr/>
      <dgm:t>
        <a:bodyPr/>
        <a:lstStyle/>
        <a:p>
          <a:pPr>
            <a:lnSpc>
              <a:spcPct val="100000"/>
            </a:lnSpc>
          </a:pPr>
          <a:r>
            <a:rPr lang="en-DE" dirty="0"/>
            <a:t>Feature-rich platform to support B2C and B2B businesses </a:t>
          </a:r>
          <a:endParaRPr lang="en-US" dirty="0"/>
        </a:p>
      </dgm:t>
    </dgm:pt>
    <dgm:pt modelId="{CE63D8E3-6782-46A5-B806-8B2C747F57F8}" type="parTrans" cxnId="{581C4F0E-9BA8-46D5-9A1A-F5656C08DC2F}">
      <dgm:prSet/>
      <dgm:spPr/>
      <dgm:t>
        <a:bodyPr/>
        <a:lstStyle/>
        <a:p>
          <a:endParaRPr lang="en-US"/>
        </a:p>
      </dgm:t>
    </dgm:pt>
    <dgm:pt modelId="{559A84FB-0669-433E-BB3A-32B1900A910C}" type="sibTrans" cxnId="{581C4F0E-9BA8-46D5-9A1A-F5656C08DC2F}">
      <dgm:prSet/>
      <dgm:spPr/>
      <dgm:t>
        <a:bodyPr/>
        <a:lstStyle/>
        <a:p>
          <a:endParaRPr lang="en-US"/>
        </a:p>
      </dgm:t>
    </dgm:pt>
    <dgm:pt modelId="{935443B2-EFD8-E74B-A798-8117A5A9AFA5}">
      <dgm:prSet/>
      <dgm:spPr/>
      <dgm:t>
        <a:bodyPr/>
        <a:lstStyle/>
        <a:p>
          <a:pPr>
            <a:lnSpc>
              <a:spcPct val="100000"/>
            </a:lnSpc>
          </a:pPr>
          <a:r>
            <a:rPr lang="en-US" dirty="0"/>
            <a:t>In-App extensibility fashion, or in other words, vertical </a:t>
          </a:r>
          <a:r>
            <a:rPr lang="en-US" dirty="0" err="1"/>
            <a:t>extensbility</a:t>
          </a:r>
          <a:endParaRPr lang="en-US" dirty="0"/>
        </a:p>
      </dgm:t>
    </dgm:pt>
    <dgm:pt modelId="{5E7BC7BC-8767-F949-A280-972674BC6086}" type="parTrans" cxnId="{FAA46F2D-4359-B449-A745-6326690C6FD1}">
      <dgm:prSet/>
      <dgm:spPr/>
      <dgm:t>
        <a:bodyPr/>
        <a:lstStyle/>
        <a:p>
          <a:endParaRPr lang="en-US"/>
        </a:p>
      </dgm:t>
    </dgm:pt>
    <dgm:pt modelId="{CE0AA085-F865-F843-972E-CDB1B67E71B2}" type="sibTrans" cxnId="{FAA46F2D-4359-B449-A745-6326690C6FD1}">
      <dgm:prSet/>
      <dgm:spPr/>
      <dgm:t>
        <a:bodyPr/>
        <a:lstStyle/>
        <a:p>
          <a:endParaRPr lang="en-US"/>
        </a:p>
      </dgm:t>
    </dgm:pt>
    <dgm:pt modelId="{8125B282-E5CD-4D9D-A4AB-947CE84A3E55}" type="pres">
      <dgm:prSet presAssocID="{04CC2E99-A433-4D9E-BA2D-CA8A04B951CB}" presName="root" presStyleCnt="0">
        <dgm:presLayoutVars>
          <dgm:dir/>
          <dgm:resizeHandles val="exact"/>
        </dgm:presLayoutVars>
      </dgm:prSet>
      <dgm:spPr/>
    </dgm:pt>
    <dgm:pt modelId="{0E408E70-0768-4685-ADFE-C058545A54D7}" type="pres">
      <dgm:prSet presAssocID="{DE3C34EF-1036-442B-A9B9-FB2152D4A9DD}" presName="compNode" presStyleCnt="0"/>
      <dgm:spPr/>
    </dgm:pt>
    <dgm:pt modelId="{43303E5F-1A2A-4465-BB6D-7AAEAEC7A742}" type="pres">
      <dgm:prSet presAssocID="{DE3C34EF-1036-442B-A9B9-FB2152D4A9DD}" presName="bgRect" presStyleLbl="bgShp" presStyleIdx="0" presStyleCnt="5"/>
      <dgm:spPr/>
    </dgm:pt>
    <dgm:pt modelId="{774C47BF-1F3C-442B-8D1F-B0FD6C4404A0}" type="pres">
      <dgm:prSet presAssocID="{DE3C34EF-1036-442B-A9B9-FB2152D4A9D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lloons"/>
        </a:ext>
      </dgm:extLst>
    </dgm:pt>
    <dgm:pt modelId="{0B51CECC-02F6-43C1-911B-4C1CE259CD09}" type="pres">
      <dgm:prSet presAssocID="{DE3C34EF-1036-442B-A9B9-FB2152D4A9DD}" presName="spaceRect" presStyleCnt="0"/>
      <dgm:spPr/>
    </dgm:pt>
    <dgm:pt modelId="{9DF748CB-B7DC-444E-912F-AF12B89EE14F}" type="pres">
      <dgm:prSet presAssocID="{DE3C34EF-1036-442B-A9B9-FB2152D4A9DD}" presName="parTx" presStyleLbl="revTx" presStyleIdx="0" presStyleCnt="5">
        <dgm:presLayoutVars>
          <dgm:chMax val="0"/>
          <dgm:chPref val="0"/>
        </dgm:presLayoutVars>
      </dgm:prSet>
      <dgm:spPr/>
    </dgm:pt>
    <dgm:pt modelId="{94CB9A59-825E-482B-A7B7-76AD90F9C699}" type="pres">
      <dgm:prSet presAssocID="{21F599CA-D087-42BB-8C96-8E9DE567C909}" presName="sibTrans" presStyleCnt="0"/>
      <dgm:spPr/>
    </dgm:pt>
    <dgm:pt modelId="{7B9A0183-FC2C-DC4E-8540-0A5917B36688}" type="pres">
      <dgm:prSet presAssocID="{935443B2-EFD8-E74B-A798-8117A5A9AFA5}" presName="compNode" presStyleCnt="0"/>
      <dgm:spPr/>
    </dgm:pt>
    <dgm:pt modelId="{4D29468D-05F5-BD48-8291-93664DB8DB9B}" type="pres">
      <dgm:prSet presAssocID="{935443B2-EFD8-E74B-A798-8117A5A9AFA5}" presName="bgRect" presStyleLbl="bgShp" presStyleIdx="1" presStyleCnt="5"/>
      <dgm:spPr/>
    </dgm:pt>
    <dgm:pt modelId="{E15930FB-82ED-F14D-9B84-1975B27C0460}" type="pres">
      <dgm:prSet presAssocID="{935443B2-EFD8-E74B-A798-8117A5A9AFA5}" presName="iconRect" presStyleLbl="node1" presStyleIdx="1" presStyleCnt="5"/>
      <dgm:spPr/>
    </dgm:pt>
    <dgm:pt modelId="{C65F934A-4134-434C-A5D7-37336CA6C4AA}" type="pres">
      <dgm:prSet presAssocID="{935443B2-EFD8-E74B-A798-8117A5A9AFA5}" presName="spaceRect" presStyleCnt="0"/>
      <dgm:spPr/>
    </dgm:pt>
    <dgm:pt modelId="{56D532AC-86A1-C64A-A7DB-789C4549FB25}" type="pres">
      <dgm:prSet presAssocID="{935443B2-EFD8-E74B-A798-8117A5A9AFA5}" presName="parTx" presStyleLbl="revTx" presStyleIdx="1" presStyleCnt="5">
        <dgm:presLayoutVars>
          <dgm:chMax val="0"/>
          <dgm:chPref val="0"/>
        </dgm:presLayoutVars>
      </dgm:prSet>
      <dgm:spPr/>
    </dgm:pt>
    <dgm:pt modelId="{14C6C424-2C00-FB41-95F7-617C03F71ED2}" type="pres">
      <dgm:prSet presAssocID="{CE0AA085-F865-F843-972E-CDB1B67E71B2}" presName="sibTrans" presStyleCnt="0"/>
      <dgm:spPr/>
    </dgm:pt>
    <dgm:pt modelId="{5887919F-E0F5-419E-9305-2FCBCF81E3D8}" type="pres">
      <dgm:prSet presAssocID="{40DBF775-0CC4-4B31-A9E7-560D2EF30795}" presName="compNode" presStyleCnt="0"/>
      <dgm:spPr/>
    </dgm:pt>
    <dgm:pt modelId="{2F92F412-CF6B-47DB-82DA-65BE6CB19C51}" type="pres">
      <dgm:prSet presAssocID="{40DBF775-0CC4-4B31-A9E7-560D2EF30795}" presName="bgRect" presStyleLbl="bgShp" presStyleIdx="2" presStyleCnt="5"/>
      <dgm:spPr/>
    </dgm:pt>
    <dgm:pt modelId="{450D11D4-0EC1-472E-B71E-4CFF15C4FD7A}" type="pres">
      <dgm:prSet presAssocID="{40DBF775-0CC4-4B31-A9E7-560D2EF30795}" presName="iconRect" presStyleLbl="node1" presStyleIdx="2"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C0E347D1-983B-4308-AFD5-30F4BFE49F5D}" type="pres">
      <dgm:prSet presAssocID="{40DBF775-0CC4-4B31-A9E7-560D2EF30795}" presName="spaceRect" presStyleCnt="0"/>
      <dgm:spPr/>
    </dgm:pt>
    <dgm:pt modelId="{F89E1BAD-625F-40C4-8E89-0BA9376B668A}" type="pres">
      <dgm:prSet presAssocID="{40DBF775-0CC4-4B31-A9E7-560D2EF30795}" presName="parTx" presStyleLbl="revTx" presStyleIdx="2" presStyleCnt="5">
        <dgm:presLayoutVars>
          <dgm:chMax val="0"/>
          <dgm:chPref val="0"/>
        </dgm:presLayoutVars>
      </dgm:prSet>
      <dgm:spPr/>
    </dgm:pt>
    <dgm:pt modelId="{B5E4787D-9A67-41AD-B5F2-B25712F19547}" type="pres">
      <dgm:prSet presAssocID="{FECD9BE8-2AA3-4302-AF96-EBDB6E11912C}" presName="sibTrans" presStyleCnt="0"/>
      <dgm:spPr/>
    </dgm:pt>
    <dgm:pt modelId="{EF4DA583-546F-4ECA-BE04-0D62D6C111AE}" type="pres">
      <dgm:prSet presAssocID="{5A68575D-8E60-4BB1-99E6-940A83A73C12}" presName="compNode" presStyleCnt="0"/>
      <dgm:spPr/>
    </dgm:pt>
    <dgm:pt modelId="{CF15859F-26F1-4D1A-B510-060D7C6868A1}" type="pres">
      <dgm:prSet presAssocID="{5A68575D-8E60-4BB1-99E6-940A83A73C12}" presName="bgRect" presStyleLbl="bgShp" presStyleIdx="3" presStyleCnt="5"/>
      <dgm:spPr/>
    </dgm:pt>
    <dgm:pt modelId="{E04063C5-C1A6-4F48-A98F-8880E4624092}" type="pres">
      <dgm:prSet presAssocID="{5A68575D-8E60-4BB1-99E6-940A83A73C12}" presName="iconRect" presStyleLbl="node1" presStyleIdx="3"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roup"/>
        </a:ext>
      </dgm:extLst>
    </dgm:pt>
    <dgm:pt modelId="{FADEEE89-CFEB-43C1-8E00-A29A2F4C069C}" type="pres">
      <dgm:prSet presAssocID="{5A68575D-8E60-4BB1-99E6-940A83A73C12}" presName="spaceRect" presStyleCnt="0"/>
      <dgm:spPr/>
    </dgm:pt>
    <dgm:pt modelId="{E415D641-252A-44E8-8E1D-ED64216A74CE}" type="pres">
      <dgm:prSet presAssocID="{5A68575D-8E60-4BB1-99E6-940A83A73C12}" presName="parTx" presStyleLbl="revTx" presStyleIdx="3" presStyleCnt="5">
        <dgm:presLayoutVars>
          <dgm:chMax val="0"/>
          <dgm:chPref val="0"/>
        </dgm:presLayoutVars>
      </dgm:prSet>
      <dgm:spPr/>
    </dgm:pt>
    <dgm:pt modelId="{2EC6F11A-CBA6-4F92-AE70-32D19C3700AD}" type="pres">
      <dgm:prSet presAssocID="{920D5CC3-BFC0-408C-9EEB-F39C76072770}" presName="sibTrans" presStyleCnt="0"/>
      <dgm:spPr/>
    </dgm:pt>
    <dgm:pt modelId="{5FFCE391-F5BD-4D76-90FD-6C75CF4D60F1}" type="pres">
      <dgm:prSet presAssocID="{3AAA9DAA-21C4-4F05-BD09-218AF615C01D}" presName="compNode" presStyleCnt="0"/>
      <dgm:spPr/>
    </dgm:pt>
    <dgm:pt modelId="{C38C3667-539C-4DE9-90AE-F85827BC2B9C}" type="pres">
      <dgm:prSet presAssocID="{3AAA9DAA-21C4-4F05-BD09-218AF615C01D}" presName="bgRect" presStyleLbl="bgShp" presStyleIdx="4" presStyleCnt="5"/>
      <dgm:spPr/>
    </dgm:pt>
    <dgm:pt modelId="{1A37D62C-40F9-4CB2-8C31-2F2200AF7032}" type="pres">
      <dgm:prSet presAssocID="{3AAA9DAA-21C4-4F05-BD09-218AF615C01D}" presName="iconRect" presStyleLbl="node1" presStyleIdx="4"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astle scene"/>
        </a:ext>
      </dgm:extLst>
    </dgm:pt>
    <dgm:pt modelId="{09317BD8-6377-4C78-88FF-0496F7141B5B}" type="pres">
      <dgm:prSet presAssocID="{3AAA9DAA-21C4-4F05-BD09-218AF615C01D}" presName="spaceRect" presStyleCnt="0"/>
      <dgm:spPr/>
    </dgm:pt>
    <dgm:pt modelId="{835D2161-4B7C-4F1E-94B8-DD4E64042A15}" type="pres">
      <dgm:prSet presAssocID="{3AAA9DAA-21C4-4F05-BD09-218AF615C01D}" presName="parTx" presStyleLbl="revTx" presStyleIdx="4" presStyleCnt="5">
        <dgm:presLayoutVars>
          <dgm:chMax val="0"/>
          <dgm:chPref val="0"/>
        </dgm:presLayoutVars>
      </dgm:prSet>
      <dgm:spPr/>
    </dgm:pt>
  </dgm:ptLst>
  <dgm:cxnLst>
    <dgm:cxn modelId="{581C4F0E-9BA8-46D5-9A1A-F5656C08DC2F}" srcId="{04CC2E99-A433-4D9E-BA2D-CA8A04B951CB}" destId="{3AAA9DAA-21C4-4F05-BD09-218AF615C01D}" srcOrd="4" destOrd="0" parTransId="{CE63D8E3-6782-46A5-B806-8B2C747F57F8}" sibTransId="{559A84FB-0669-433E-BB3A-32B1900A910C}"/>
    <dgm:cxn modelId="{FAA46F2D-4359-B449-A745-6326690C6FD1}" srcId="{04CC2E99-A433-4D9E-BA2D-CA8A04B951CB}" destId="{935443B2-EFD8-E74B-A798-8117A5A9AFA5}" srcOrd="1" destOrd="0" parTransId="{5E7BC7BC-8767-F949-A280-972674BC6086}" sibTransId="{CE0AA085-F865-F843-972E-CDB1B67E71B2}"/>
    <dgm:cxn modelId="{EA0B5E42-4653-43DF-8BB9-B3E319058EEE}" type="presOf" srcId="{3AAA9DAA-21C4-4F05-BD09-218AF615C01D}" destId="{835D2161-4B7C-4F1E-94B8-DD4E64042A15}" srcOrd="0" destOrd="0" presId="urn:microsoft.com/office/officeart/2018/2/layout/IconVerticalSolidList"/>
    <dgm:cxn modelId="{68F0914D-C87F-4C75-807B-A4EA6BB5B7C5}" srcId="{04CC2E99-A433-4D9E-BA2D-CA8A04B951CB}" destId="{40DBF775-0CC4-4B31-A9E7-560D2EF30795}" srcOrd="2" destOrd="0" parTransId="{89C65D98-2989-4FE8-B671-50C6A8318E56}" sibTransId="{FECD9BE8-2AA3-4302-AF96-EBDB6E11912C}"/>
    <dgm:cxn modelId="{E66C8667-1793-418F-8A94-0DCF0DA79261}" type="presOf" srcId="{04CC2E99-A433-4D9E-BA2D-CA8A04B951CB}" destId="{8125B282-E5CD-4D9D-A4AB-947CE84A3E55}" srcOrd="0" destOrd="0" presId="urn:microsoft.com/office/officeart/2018/2/layout/IconVerticalSolidList"/>
    <dgm:cxn modelId="{83BB9687-8902-4AB2-B977-5BC4EB146ADC}" srcId="{04CC2E99-A433-4D9E-BA2D-CA8A04B951CB}" destId="{5A68575D-8E60-4BB1-99E6-940A83A73C12}" srcOrd="3" destOrd="0" parTransId="{06F7501F-7673-462E-AA71-94FC807FC711}" sibTransId="{920D5CC3-BFC0-408C-9EEB-F39C76072770}"/>
    <dgm:cxn modelId="{4F6EC888-FAF5-4CF4-9D81-1F549EB1D488}" type="presOf" srcId="{5A68575D-8E60-4BB1-99E6-940A83A73C12}" destId="{E415D641-252A-44E8-8E1D-ED64216A74CE}" srcOrd="0" destOrd="0" presId="urn:microsoft.com/office/officeart/2018/2/layout/IconVerticalSolidList"/>
    <dgm:cxn modelId="{C77F8792-41D9-43CB-8C6C-0B64A7C0A102}" srcId="{04CC2E99-A433-4D9E-BA2D-CA8A04B951CB}" destId="{DE3C34EF-1036-442B-A9B9-FB2152D4A9DD}" srcOrd="0" destOrd="0" parTransId="{DE1E7C3B-1AD3-4F73-98F7-18DA72B55E6F}" sibTransId="{21F599CA-D087-42BB-8C96-8E9DE567C909}"/>
    <dgm:cxn modelId="{CE81529D-75A9-4B46-AD52-AC14A5FEB2F5}" type="presOf" srcId="{DE3C34EF-1036-442B-A9B9-FB2152D4A9DD}" destId="{9DF748CB-B7DC-444E-912F-AF12B89EE14F}" srcOrd="0" destOrd="0" presId="urn:microsoft.com/office/officeart/2018/2/layout/IconVerticalSolidList"/>
    <dgm:cxn modelId="{8AC3F4C0-691D-43D5-83EC-543AB4655EEE}" type="presOf" srcId="{40DBF775-0CC4-4B31-A9E7-560D2EF30795}" destId="{F89E1BAD-625F-40C4-8E89-0BA9376B668A}" srcOrd="0" destOrd="0" presId="urn:microsoft.com/office/officeart/2018/2/layout/IconVerticalSolidList"/>
    <dgm:cxn modelId="{3B6F2FC5-529A-8343-A7FD-369DFBDA6EE8}" type="presOf" srcId="{935443B2-EFD8-E74B-A798-8117A5A9AFA5}" destId="{56D532AC-86A1-C64A-A7DB-789C4549FB25}" srcOrd="0" destOrd="0" presId="urn:microsoft.com/office/officeart/2018/2/layout/IconVerticalSolidList"/>
    <dgm:cxn modelId="{FF05F27B-AF47-4C60-8D0A-1FCEAEB20C9B}" type="presParOf" srcId="{8125B282-E5CD-4D9D-A4AB-947CE84A3E55}" destId="{0E408E70-0768-4685-ADFE-C058545A54D7}" srcOrd="0" destOrd="0" presId="urn:microsoft.com/office/officeart/2018/2/layout/IconVerticalSolidList"/>
    <dgm:cxn modelId="{E3073A0C-446B-44FA-8383-695C3E97F012}" type="presParOf" srcId="{0E408E70-0768-4685-ADFE-C058545A54D7}" destId="{43303E5F-1A2A-4465-BB6D-7AAEAEC7A742}" srcOrd="0" destOrd="0" presId="urn:microsoft.com/office/officeart/2018/2/layout/IconVerticalSolidList"/>
    <dgm:cxn modelId="{A3026E2C-9198-40E7-A0BC-DE9181C17F55}" type="presParOf" srcId="{0E408E70-0768-4685-ADFE-C058545A54D7}" destId="{774C47BF-1F3C-442B-8D1F-B0FD6C4404A0}" srcOrd="1" destOrd="0" presId="urn:microsoft.com/office/officeart/2018/2/layout/IconVerticalSolidList"/>
    <dgm:cxn modelId="{436052AD-FA07-49A6-9049-D725FC251033}" type="presParOf" srcId="{0E408E70-0768-4685-ADFE-C058545A54D7}" destId="{0B51CECC-02F6-43C1-911B-4C1CE259CD09}" srcOrd="2" destOrd="0" presId="urn:microsoft.com/office/officeart/2018/2/layout/IconVerticalSolidList"/>
    <dgm:cxn modelId="{98F10503-B07C-4488-89E6-C13BAEC6F73C}" type="presParOf" srcId="{0E408E70-0768-4685-ADFE-C058545A54D7}" destId="{9DF748CB-B7DC-444E-912F-AF12B89EE14F}" srcOrd="3" destOrd="0" presId="urn:microsoft.com/office/officeart/2018/2/layout/IconVerticalSolidList"/>
    <dgm:cxn modelId="{6F2E4BDB-DA17-4212-A43D-4B398825F9C0}" type="presParOf" srcId="{8125B282-E5CD-4D9D-A4AB-947CE84A3E55}" destId="{94CB9A59-825E-482B-A7B7-76AD90F9C699}" srcOrd="1" destOrd="0" presId="urn:microsoft.com/office/officeart/2018/2/layout/IconVerticalSolidList"/>
    <dgm:cxn modelId="{2B3E0211-D11B-2E47-949C-C876286DD613}" type="presParOf" srcId="{8125B282-E5CD-4D9D-A4AB-947CE84A3E55}" destId="{7B9A0183-FC2C-DC4E-8540-0A5917B36688}" srcOrd="2" destOrd="0" presId="urn:microsoft.com/office/officeart/2018/2/layout/IconVerticalSolidList"/>
    <dgm:cxn modelId="{8AC694BE-B065-E842-8FBA-D001541B65C0}" type="presParOf" srcId="{7B9A0183-FC2C-DC4E-8540-0A5917B36688}" destId="{4D29468D-05F5-BD48-8291-93664DB8DB9B}" srcOrd="0" destOrd="0" presId="urn:microsoft.com/office/officeart/2018/2/layout/IconVerticalSolidList"/>
    <dgm:cxn modelId="{4504A2C5-EC5D-9F4A-9E65-955EEC71302A}" type="presParOf" srcId="{7B9A0183-FC2C-DC4E-8540-0A5917B36688}" destId="{E15930FB-82ED-F14D-9B84-1975B27C0460}" srcOrd="1" destOrd="0" presId="urn:microsoft.com/office/officeart/2018/2/layout/IconVerticalSolidList"/>
    <dgm:cxn modelId="{E6603095-8C78-BC4F-990A-B6C8CA955FAC}" type="presParOf" srcId="{7B9A0183-FC2C-DC4E-8540-0A5917B36688}" destId="{C65F934A-4134-434C-A5D7-37336CA6C4AA}" srcOrd="2" destOrd="0" presId="urn:microsoft.com/office/officeart/2018/2/layout/IconVerticalSolidList"/>
    <dgm:cxn modelId="{3297F586-D504-084A-8984-B6B02D306D21}" type="presParOf" srcId="{7B9A0183-FC2C-DC4E-8540-0A5917B36688}" destId="{56D532AC-86A1-C64A-A7DB-789C4549FB25}" srcOrd="3" destOrd="0" presId="urn:microsoft.com/office/officeart/2018/2/layout/IconVerticalSolidList"/>
    <dgm:cxn modelId="{A3DDEAE5-6871-7640-8A30-F32214DA2627}" type="presParOf" srcId="{8125B282-E5CD-4D9D-A4AB-947CE84A3E55}" destId="{14C6C424-2C00-FB41-95F7-617C03F71ED2}" srcOrd="3" destOrd="0" presId="urn:microsoft.com/office/officeart/2018/2/layout/IconVerticalSolidList"/>
    <dgm:cxn modelId="{DAA97373-5047-4A39-9187-6CC0C4910930}" type="presParOf" srcId="{8125B282-E5CD-4D9D-A4AB-947CE84A3E55}" destId="{5887919F-E0F5-419E-9305-2FCBCF81E3D8}" srcOrd="4" destOrd="0" presId="urn:microsoft.com/office/officeart/2018/2/layout/IconVerticalSolidList"/>
    <dgm:cxn modelId="{D75A8F03-FA2E-40ED-B226-47C476B53A5D}" type="presParOf" srcId="{5887919F-E0F5-419E-9305-2FCBCF81E3D8}" destId="{2F92F412-CF6B-47DB-82DA-65BE6CB19C51}" srcOrd="0" destOrd="0" presId="urn:microsoft.com/office/officeart/2018/2/layout/IconVerticalSolidList"/>
    <dgm:cxn modelId="{F2A20645-C7D9-42EC-8F98-3E1F489E920F}" type="presParOf" srcId="{5887919F-E0F5-419E-9305-2FCBCF81E3D8}" destId="{450D11D4-0EC1-472E-B71E-4CFF15C4FD7A}" srcOrd="1" destOrd="0" presId="urn:microsoft.com/office/officeart/2018/2/layout/IconVerticalSolidList"/>
    <dgm:cxn modelId="{5EA84F26-1F4C-403B-90C9-2DEBBA7795D5}" type="presParOf" srcId="{5887919F-E0F5-419E-9305-2FCBCF81E3D8}" destId="{C0E347D1-983B-4308-AFD5-30F4BFE49F5D}" srcOrd="2" destOrd="0" presId="urn:microsoft.com/office/officeart/2018/2/layout/IconVerticalSolidList"/>
    <dgm:cxn modelId="{03861CAE-BDE8-47DF-9C6F-C7095C3EB00F}" type="presParOf" srcId="{5887919F-E0F5-419E-9305-2FCBCF81E3D8}" destId="{F89E1BAD-625F-40C4-8E89-0BA9376B668A}" srcOrd="3" destOrd="0" presId="urn:microsoft.com/office/officeart/2018/2/layout/IconVerticalSolidList"/>
    <dgm:cxn modelId="{9C7CD280-1A55-43C7-BE57-B2D1E06C8E23}" type="presParOf" srcId="{8125B282-E5CD-4D9D-A4AB-947CE84A3E55}" destId="{B5E4787D-9A67-41AD-B5F2-B25712F19547}" srcOrd="5" destOrd="0" presId="urn:microsoft.com/office/officeart/2018/2/layout/IconVerticalSolidList"/>
    <dgm:cxn modelId="{F66147C2-F7A0-40A6-A5BA-A3BE4DB85768}" type="presParOf" srcId="{8125B282-E5CD-4D9D-A4AB-947CE84A3E55}" destId="{EF4DA583-546F-4ECA-BE04-0D62D6C111AE}" srcOrd="6" destOrd="0" presId="urn:microsoft.com/office/officeart/2018/2/layout/IconVerticalSolidList"/>
    <dgm:cxn modelId="{7947F0A9-3718-4D6F-9552-3ED3AC7D5B9D}" type="presParOf" srcId="{EF4DA583-546F-4ECA-BE04-0D62D6C111AE}" destId="{CF15859F-26F1-4D1A-B510-060D7C6868A1}" srcOrd="0" destOrd="0" presId="urn:microsoft.com/office/officeart/2018/2/layout/IconVerticalSolidList"/>
    <dgm:cxn modelId="{2B96809E-8873-4A42-914C-BB54325AC7C1}" type="presParOf" srcId="{EF4DA583-546F-4ECA-BE04-0D62D6C111AE}" destId="{E04063C5-C1A6-4F48-A98F-8880E4624092}" srcOrd="1" destOrd="0" presId="urn:microsoft.com/office/officeart/2018/2/layout/IconVerticalSolidList"/>
    <dgm:cxn modelId="{739E696F-CA2E-4E0D-86EF-750B0698939F}" type="presParOf" srcId="{EF4DA583-546F-4ECA-BE04-0D62D6C111AE}" destId="{FADEEE89-CFEB-43C1-8E00-A29A2F4C069C}" srcOrd="2" destOrd="0" presId="urn:microsoft.com/office/officeart/2018/2/layout/IconVerticalSolidList"/>
    <dgm:cxn modelId="{C955C9B2-D6C4-479F-82CF-8778C5E58F5B}" type="presParOf" srcId="{EF4DA583-546F-4ECA-BE04-0D62D6C111AE}" destId="{E415D641-252A-44E8-8E1D-ED64216A74CE}" srcOrd="3" destOrd="0" presId="urn:microsoft.com/office/officeart/2018/2/layout/IconVerticalSolidList"/>
    <dgm:cxn modelId="{85E69810-D717-40B6-B480-BAF9917E41DF}" type="presParOf" srcId="{8125B282-E5CD-4D9D-A4AB-947CE84A3E55}" destId="{2EC6F11A-CBA6-4F92-AE70-32D19C3700AD}" srcOrd="7" destOrd="0" presId="urn:microsoft.com/office/officeart/2018/2/layout/IconVerticalSolidList"/>
    <dgm:cxn modelId="{ACEB0DA7-C702-4E24-8558-2FB59201604C}" type="presParOf" srcId="{8125B282-E5CD-4D9D-A4AB-947CE84A3E55}" destId="{5FFCE391-F5BD-4D76-90FD-6C75CF4D60F1}" srcOrd="8" destOrd="0" presId="urn:microsoft.com/office/officeart/2018/2/layout/IconVerticalSolidList"/>
    <dgm:cxn modelId="{4730F199-0BF0-4D6F-96BE-59522E8039EB}" type="presParOf" srcId="{5FFCE391-F5BD-4D76-90FD-6C75CF4D60F1}" destId="{C38C3667-539C-4DE9-90AE-F85827BC2B9C}" srcOrd="0" destOrd="0" presId="urn:microsoft.com/office/officeart/2018/2/layout/IconVerticalSolidList"/>
    <dgm:cxn modelId="{26F5B919-0281-4961-ACE6-F174C7028C20}" type="presParOf" srcId="{5FFCE391-F5BD-4D76-90FD-6C75CF4D60F1}" destId="{1A37D62C-40F9-4CB2-8C31-2F2200AF7032}" srcOrd="1" destOrd="0" presId="urn:microsoft.com/office/officeart/2018/2/layout/IconVerticalSolidList"/>
    <dgm:cxn modelId="{E90ADBD3-AEA9-4A92-97FB-B7D639114783}" type="presParOf" srcId="{5FFCE391-F5BD-4D76-90FD-6C75CF4D60F1}" destId="{09317BD8-6377-4C78-88FF-0496F7141B5B}" srcOrd="2" destOrd="0" presId="urn:microsoft.com/office/officeart/2018/2/layout/IconVerticalSolidList"/>
    <dgm:cxn modelId="{265B2813-A971-4E1C-AB7C-D9C1921DDE20}" type="presParOf" srcId="{5FFCE391-F5BD-4D76-90FD-6C75CF4D60F1}" destId="{835D2161-4B7C-4F1E-94B8-DD4E64042A1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CC2E99-A433-4D9E-BA2D-CA8A04B951CB}"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DE3C34EF-1036-442B-A9B9-FB2152D4A9DD}">
      <dgm:prSet/>
      <dgm:spPr/>
      <dgm:t>
        <a:bodyPr/>
        <a:lstStyle/>
        <a:p>
          <a:pPr>
            <a:lnSpc>
              <a:spcPct val="100000"/>
            </a:lnSpc>
          </a:pPr>
          <a:r>
            <a:rPr lang="en-US" dirty="0"/>
            <a:t>More of side-by-side extensibility than vertical extensibility</a:t>
          </a:r>
        </a:p>
      </dgm:t>
    </dgm:pt>
    <dgm:pt modelId="{DE1E7C3B-1AD3-4F73-98F7-18DA72B55E6F}" type="parTrans" cxnId="{C77F8792-41D9-43CB-8C6C-0B64A7C0A102}">
      <dgm:prSet/>
      <dgm:spPr/>
      <dgm:t>
        <a:bodyPr/>
        <a:lstStyle/>
        <a:p>
          <a:endParaRPr lang="en-US"/>
        </a:p>
      </dgm:t>
    </dgm:pt>
    <dgm:pt modelId="{21F599CA-D087-42BB-8C96-8E9DE567C909}" type="sibTrans" cxnId="{C77F8792-41D9-43CB-8C6C-0B64A7C0A102}">
      <dgm:prSet/>
      <dgm:spPr/>
      <dgm:t>
        <a:bodyPr/>
        <a:lstStyle/>
        <a:p>
          <a:endParaRPr lang="en-US"/>
        </a:p>
      </dgm:t>
    </dgm:pt>
    <dgm:pt modelId="{40DBF775-0CC4-4B31-A9E7-560D2EF30795}">
      <dgm:prSet/>
      <dgm:spPr/>
      <dgm:t>
        <a:bodyPr/>
        <a:lstStyle/>
        <a:p>
          <a:pPr>
            <a:lnSpc>
              <a:spcPct val="100000"/>
            </a:lnSpc>
          </a:pPr>
          <a:r>
            <a:rPr lang="en-DE" dirty="0"/>
            <a:t>Headless, API first and event driven</a:t>
          </a:r>
          <a:endParaRPr lang="en-US" dirty="0"/>
        </a:p>
      </dgm:t>
    </dgm:pt>
    <dgm:pt modelId="{89C65D98-2989-4FE8-B671-50C6A8318E56}" type="parTrans" cxnId="{68F0914D-C87F-4C75-807B-A4EA6BB5B7C5}">
      <dgm:prSet/>
      <dgm:spPr/>
      <dgm:t>
        <a:bodyPr/>
        <a:lstStyle/>
        <a:p>
          <a:endParaRPr lang="en-US"/>
        </a:p>
      </dgm:t>
    </dgm:pt>
    <dgm:pt modelId="{FECD9BE8-2AA3-4302-AF96-EBDB6E11912C}" type="sibTrans" cxnId="{68F0914D-C87F-4C75-807B-A4EA6BB5B7C5}">
      <dgm:prSet/>
      <dgm:spPr/>
      <dgm:t>
        <a:bodyPr/>
        <a:lstStyle/>
        <a:p>
          <a:endParaRPr lang="en-US"/>
        </a:p>
      </dgm:t>
    </dgm:pt>
    <dgm:pt modelId="{5A68575D-8E60-4BB1-99E6-940A83A73C12}">
      <dgm:prSet/>
      <dgm:spPr/>
      <dgm:t>
        <a:bodyPr/>
        <a:lstStyle/>
        <a:p>
          <a:pPr>
            <a:lnSpc>
              <a:spcPct val="100000"/>
            </a:lnSpc>
          </a:pPr>
          <a:r>
            <a:rPr lang="en-DE"/>
            <a:t>Support for custom </a:t>
          </a:r>
          <a:r>
            <a:rPr lang="en-DE" dirty="0"/>
            <a:t>events to handle sophisticated use cases</a:t>
          </a:r>
          <a:endParaRPr lang="en-US" dirty="0"/>
        </a:p>
      </dgm:t>
    </dgm:pt>
    <dgm:pt modelId="{06F7501F-7673-462E-AA71-94FC807FC711}" type="parTrans" cxnId="{83BB9687-8902-4AB2-B977-5BC4EB146ADC}">
      <dgm:prSet/>
      <dgm:spPr/>
      <dgm:t>
        <a:bodyPr/>
        <a:lstStyle/>
        <a:p>
          <a:endParaRPr lang="en-US"/>
        </a:p>
      </dgm:t>
    </dgm:pt>
    <dgm:pt modelId="{920D5CC3-BFC0-408C-9EEB-F39C76072770}" type="sibTrans" cxnId="{83BB9687-8902-4AB2-B977-5BC4EB146ADC}">
      <dgm:prSet/>
      <dgm:spPr/>
      <dgm:t>
        <a:bodyPr/>
        <a:lstStyle/>
        <a:p>
          <a:endParaRPr lang="en-US"/>
        </a:p>
      </dgm:t>
    </dgm:pt>
    <dgm:pt modelId="{3AAA9DAA-21C4-4F05-BD09-218AF615C01D}">
      <dgm:prSet/>
      <dgm:spPr/>
      <dgm:t>
        <a:bodyPr/>
        <a:lstStyle/>
        <a:p>
          <a:pPr>
            <a:lnSpc>
              <a:spcPct val="100000"/>
            </a:lnSpc>
          </a:pPr>
          <a:r>
            <a:rPr lang="en-US" dirty="0"/>
            <a:t>Secure and robust integration with </a:t>
          </a:r>
          <a:r>
            <a:rPr lang="en-US" dirty="0" err="1"/>
            <a:t>Kyma</a:t>
          </a:r>
          <a:r>
            <a:rPr lang="en-US" dirty="0"/>
            <a:t> runtime</a:t>
          </a:r>
        </a:p>
      </dgm:t>
    </dgm:pt>
    <dgm:pt modelId="{CE63D8E3-6782-46A5-B806-8B2C747F57F8}" type="parTrans" cxnId="{581C4F0E-9BA8-46D5-9A1A-F5656C08DC2F}">
      <dgm:prSet/>
      <dgm:spPr/>
      <dgm:t>
        <a:bodyPr/>
        <a:lstStyle/>
        <a:p>
          <a:endParaRPr lang="en-US"/>
        </a:p>
      </dgm:t>
    </dgm:pt>
    <dgm:pt modelId="{559A84FB-0669-433E-BB3A-32B1900A910C}" type="sibTrans" cxnId="{581C4F0E-9BA8-46D5-9A1A-F5656C08DC2F}">
      <dgm:prSet/>
      <dgm:spPr/>
      <dgm:t>
        <a:bodyPr/>
        <a:lstStyle/>
        <a:p>
          <a:endParaRPr lang="en-US"/>
        </a:p>
      </dgm:t>
    </dgm:pt>
    <dgm:pt modelId="{935443B2-EFD8-E74B-A798-8117A5A9AFA5}">
      <dgm:prSet/>
      <dgm:spPr/>
      <dgm:t>
        <a:bodyPr/>
        <a:lstStyle/>
        <a:p>
          <a:pPr>
            <a:lnSpc>
              <a:spcPct val="100000"/>
            </a:lnSpc>
          </a:pPr>
          <a:r>
            <a:rPr lang="en-US" dirty="0"/>
            <a:t>More than 150 events are automatically sent to chosen targets for processing and augmented business logic</a:t>
          </a:r>
        </a:p>
      </dgm:t>
    </dgm:pt>
    <dgm:pt modelId="{5E7BC7BC-8767-F949-A280-972674BC6086}" type="parTrans" cxnId="{FAA46F2D-4359-B449-A745-6326690C6FD1}">
      <dgm:prSet/>
      <dgm:spPr/>
      <dgm:t>
        <a:bodyPr/>
        <a:lstStyle/>
        <a:p>
          <a:endParaRPr lang="en-US"/>
        </a:p>
      </dgm:t>
    </dgm:pt>
    <dgm:pt modelId="{CE0AA085-F865-F843-972E-CDB1B67E71B2}" type="sibTrans" cxnId="{FAA46F2D-4359-B449-A745-6326690C6FD1}">
      <dgm:prSet/>
      <dgm:spPr/>
      <dgm:t>
        <a:bodyPr/>
        <a:lstStyle/>
        <a:p>
          <a:endParaRPr lang="en-US"/>
        </a:p>
      </dgm:t>
    </dgm:pt>
    <dgm:pt modelId="{8125B282-E5CD-4D9D-A4AB-947CE84A3E55}" type="pres">
      <dgm:prSet presAssocID="{04CC2E99-A433-4D9E-BA2D-CA8A04B951CB}" presName="root" presStyleCnt="0">
        <dgm:presLayoutVars>
          <dgm:dir/>
          <dgm:resizeHandles val="exact"/>
        </dgm:presLayoutVars>
      </dgm:prSet>
      <dgm:spPr/>
    </dgm:pt>
    <dgm:pt modelId="{0E408E70-0768-4685-ADFE-C058545A54D7}" type="pres">
      <dgm:prSet presAssocID="{DE3C34EF-1036-442B-A9B9-FB2152D4A9DD}" presName="compNode" presStyleCnt="0"/>
      <dgm:spPr/>
    </dgm:pt>
    <dgm:pt modelId="{43303E5F-1A2A-4465-BB6D-7AAEAEC7A742}" type="pres">
      <dgm:prSet presAssocID="{DE3C34EF-1036-442B-A9B9-FB2152D4A9DD}" presName="bgRect" presStyleLbl="bgShp" presStyleIdx="0" presStyleCnt="5"/>
      <dgm:spPr/>
    </dgm:pt>
    <dgm:pt modelId="{774C47BF-1F3C-442B-8D1F-B0FD6C4404A0}" type="pres">
      <dgm:prSet presAssocID="{DE3C34EF-1036-442B-A9B9-FB2152D4A9D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lloons"/>
        </a:ext>
      </dgm:extLst>
    </dgm:pt>
    <dgm:pt modelId="{0B51CECC-02F6-43C1-911B-4C1CE259CD09}" type="pres">
      <dgm:prSet presAssocID="{DE3C34EF-1036-442B-A9B9-FB2152D4A9DD}" presName="spaceRect" presStyleCnt="0"/>
      <dgm:spPr/>
    </dgm:pt>
    <dgm:pt modelId="{9DF748CB-B7DC-444E-912F-AF12B89EE14F}" type="pres">
      <dgm:prSet presAssocID="{DE3C34EF-1036-442B-A9B9-FB2152D4A9DD}" presName="parTx" presStyleLbl="revTx" presStyleIdx="0" presStyleCnt="5">
        <dgm:presLayoutVars>
          <dgm:chMax val="0"/>
          <dgm:chPref val="0"/>
        </dgm:presLayoutVars>
      </dgm:prSet>
      <dgm:spPr/>
    </dgm:pt>
    <dgm:pt modelId="{94CB9A59-825E-482B-A7B7-76AD90F9C699}" type="pres">
      <dgm:prSet presAssocID="{21F599CA-D087-42BB-8C96-8E9DE567C909}" presName="sibTrans" presStyleCnt="0"/>
      <dgm:spPr/>
    </dgm:pt>
    <dgm:pt modelId="{7B9A0183-FC2C-DC4E-8540-0A5917B36688}" type="pres">
      <dgm:prSet presAssocID="{935443B2-EFD8-E74B-A798-8117A5A9AFA5}" presName="compNode" presStyleCnt="0"/>
      <dgm:spPr/>
    </dgm:pt>
    <dgm:pt modelId="{4D29468D-05F5-BD48-8291-93664DB8DB9B}" type="pres">
      <dgm:prSet presAssocID="{935443B2-EFD8-E74B-A798-8117A5A9AFA5}" presName="bgRect" presStyleLbl="bgShp" presStyleIdx="1" presStyleCnt="5"/>
      <dgm:spPr/>
    </dgm:pt>
    <dgm:pt modelId="{E15930FB-82ED-F14D-9B84-1975B27C0460}" type="pres">
      <dgm:prSet presAssocID="{935443B2-EFD8-E74B-A798-8117A5A9AFA5}" presName="iconRect" presStyleLbl="node1" presStyleIdx="1" presStyleCnt="5"/>
      <dgm:spPr/>
    </dgm:pt>
    <dgm:pt modelId="{C65F934A-4134-434C-A5D7-37336CA6C4AA}" type="pres">
      <dgm:prSet presAssocID="{935443B2-EFD8-E74B-A798-8117A5A9AFA5}" presName="spaceRect" presStyleCnt="0"/>
      <dgm:spPr/>
    </dgm:pt>
    <dgm:pt modelId="{56D532AC-86A1-C64A-A7DB-789C4549FB25}" type="pres">
      <dgm:prSet presAssocID="{935443B2-EFD8-E74B-A798-8117A5A9AFA5}" presName="parTx" presStyleLbl="revTx" presStyleIdx="1" presStyleCnt="5">
        <dgm:presLayoutVars>
          <dgm:chMax val="0"/>
          <dgm:chPref val="0"/>
        </dgm:presLayoutVars>
      </dgm:prSet>
      <dgm:spPr/>
    </dgm:pt>
    <dgm:pt modelId="{14C6C424-2C00-FB41-95F7-617C03F71ED2}" type="pres">
      <dgm:prSet presAssocID="{CE0AA085-F865-F843-972E-CDB1B67E71B2}" presName="sibTrans" presStyleCnt="0"/>
      <dgm:spPr/>
    </dgm:pt>
    <dgm:pt modelId="{5887919F-E0F5-419E-9305-2FCBCF81E3D8}" type="pres">
      <dgm:prSet presAssocID="{40DBF775-0CC4-4B31-A9E7-560D2EF30795}" presName="compNode" presStyleCnt="0"/>
      <dgm:spPr/>
    </dgm:pt>
    <dgm:pt modelId="{2F92F412-CF6B-47DB-82DA-65BE6CB19C51}" type="pres">
      <dgm:prSet presAssocID="{40DBF775-0CC4-4B31-A9E7-560D2EF30795}" presName="bgRect" presStyleLbl="bgShp" presStyleIdx="2" presStyleCnt="5"/>
      <dgm:spPr/>
    </dgm:pt>
    <dgm:pt modelId="{450D11D4-0EC1-472E-B71E-4CFF15C4FD7A}" type="pres">
      <dgm:prSet presAssocID="{40DBF775-0CC4-4B31-A9E7-560D2EF30795}" presName="iconRect" presStyleLbl="node1" presStyleIdx="2"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C0E347D1-983B-4308-AFD5-30F4BFE49F5D}" type="pres">
      <dgm:prSet presAssocID="{40DBF775-0CC4-4B31-A9E7-560D2EF30795}" presName="spaceRect" presStyleCnt="0"/>
      <dgm:spPr/>
    </dgm:pt>
    <dgm:pt modelId="{F89E1BAD-625F-40C4-8E89-0BA9376B668A}" type="pres">
      <dgm:prSet presAssocID="{40DBF775-0CC4-4B31-A9E7-560D2EF30795}" presName="parTx" presStyleLbl="revTx" presStyleIdx="2" presStyleCnt="5">
        <dgm:presLayoutVars>
          <dgm:chMax val="0"/>
          <dgm:chPref val="0"/>
        </dgm:presLayoutVars>
      </dgm:prSet>
      <dgm:spPr/>
    </dgm:pt>
    <dgm:pt modelId="{B5E4787D-9A67-41AD-B5F2-B25712F19547}" type="pres">
      <dgm:prSet presAssocID="{FECD9BE8-2AA3-4302-AF96-EBDB6E11912C}" presName="sibTrans" presStyleCnt="0"/>
      <dgm:spPr/>
    </dgm:pt>
    <dgm:pt modelId="{EF4DA583-546F-4ECA-BE04-0D62D6C111AE}" type="pres">
      <dgm:prSet presAssocID="{5A68575D-8E60-4BB1-99E6-940A83A73C12}" presName="compNode" presStyleCnt="0"/>
      <dgm:spPr/>
    </dgm:pt>
    <dgm:pt modelId="{CF15859F-26F1-4D1A-B510-060D7C6868A1}" type="pres">
      <dgm:prSet presAssocID="{5A68575D-8E60-4BB1-99E6-940A83A73C12}" presName="bgRect" presStyleLbl="bgShp" presStyleIdx="3" presStyleCnt="5"/>
      <dgm:spPr/>
    </dgm:pt>
    <dgm:pt modelId="{E04063C5-C1A6-4F48-A98F-8880E4624092}" type="pres">
      <dgm:prSet presAssocID="{5A68575D-8E60-4BB1-99E6-940A83A73C12}" presName="iconRect" presStyleLbl="node1" presStyleIdx="3"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roup"/>
        </a:ext>
      </dgm:extLst>
    </dgm:pt>
    <dgm:pt modelId="{FADEEE89-CFEB-43C1-8E00-A29A2F4C069C}" type="pres">
      <dgm:prSet presAssocID="{5A68575D-8E60-4BB1-99E6-940A83A73C12}" presName="spaceRect" presStyleCnt="0"/>
      <dgm:spPr/>
    </dgm:pt>
    <dgm:pt modelId="{E415D641-252A-44E8-8E1D-ED64216A74CE}" type="pres">
      <dgm:prSet presAssocID="{5A68575D-8E60-4BB1-99E6-940A83A73C12}" presName="parTx" presStyleLbl="revTx" presStyleIdx="3" presStyleCnt="5">
        <dgm:presLayoutVars>
          <dgm:chMax val="0"/>
          <dgm:chPref val="0"/>
        </dgm:presLayoutVars>
      </dgm:prSet>
      <dgm:spPr/>
    </dgm:pt>
    <dgm:pt modelId="{2EC6F11A-CBA6-4F92-AE70-32D19C3700AD}" type="pres">
      <dgm:prSet presAssocID="{920D5CC3-BFC0-408C-9EEB-F39C76072770}" presName="sibTrans" presStyleCnt="0"/>
      <dgm:spPr/>
    </dgm:pt>
    <dgm:pt modelId="{5FFCE391-F5BD-4D76-90FD-6C75CF4D60F1}" type="pres">
      <dgm:prSet presAssocID="{3AAA9DAA-21C4-4F05-BD09-218AF615C01D}" presName="compNode" presStyleCnt="0"/>
      <dgm:spPr/>
    </dgm:pt>
    <dgm:pt modelId="{C38C3667-539C-4DE9-90AE-F85827BC2B9C}" type="pres">
      <dgm:prSet presAssocID="{3AAA9DAA-21C4-4F05-BD09-218AF615C01D}" presName="bgRect" presStyleLbl="bgShp" presStyleIdx="4" presStyleCnt="5"/>
      <dgm:spPr/>
    </dgm:pt>
    <dgm:pt modelId="{1A37D62C-40F9-4CB2-8C31-2F2200AF7032}" type="pres">
      <dgm:prSet presAssocID="{3AAA9DAA-21C4-4F05-BD09-218AF615C01D}" presName="iconRect" presStyleLbl="node1" presStyleIdx="4"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astle scene"/>
        </a:ext>
      </dgm:extLst>
    </dgm:pt>
    <dgm:pt modelId="{09317BD8-6377-4C78-88FF-0496F7141B5B}" type="pres">
      <dgm:prSet presAssocID="{3AAA9DAA-21C4-4F05-BD09-218AF615C01D}" presName="spaceRect" presStyleCnt="0"/>
      <dgm:spPr/>
    </dgm:pt>
    <dgm:pt modelId="{835D2161-4B7C-4F1E-94B8-DD4E64042A15}" type="pres">
      <dgm:prSet presAssocID="{3AAA9DAA-21C4-4F05-BD09-218AF615C01D}" presName="parTx" presStyleLbl="revTx" presStyleIdx="4" presStyleCnt="5">
        <dgm:presLayoutVars>
          <dgm:chMax val="0"/>
          <dgm:chPref val="0"/>
        </dgm:presLayoutVars>
      </dgm:prSet>
      <dgm:spPr/>
    </dgm:pt>
  </dgm:ptLst>
  <dgm:cxnLst>
    <dgm:cxn modelId="{581C4F0E-9BA8-46D5-9A1A-F5656C08DC2F}" srcId="{04CC2E99-A433-4D9E-BA2D-CA8A04B951CB}" destId="{3AAA9DAA-21C4-4F05-BD09-218AF615C01D}" srcOrd="4" destOrd="0" parTransId="{CE63D8E3-6782-46A5-B806-8B2C747F57F8}" sibTransId="{559A84FB-0669-433E-BB3A-32B1900A910C}"/>
    <dgm:cxn modelId="{FAA46F2D-4359-B449-A745-6326690C6FD1}" srcId="{04CC2E99-A433-4D9E-BA2D-CA8A04B951CB}" destId="{935443B2-EFD8-E74B-A798-8117A5A9AFA5}" srcOrd="1" destOrd="0" parTransId="{5E7BC7BC-8767-F949-A280-972674BC6086}" sibTransId="{CE0AA085-F865-F843-972E-CDB1B67E71B2}"/>
    <dgm:cxn modelId="{EA0B5E42-4653-43DF-8BB9-B3E319058EEE}" type="presOf" srcId="{3AAA9DAA-21C4-4F05-BD09-218AF615C01D}" destId="{835D2161-4B7C-4F1E-94B8-DD4E64042A15}" srcOrd="0" destOrd="0" presId="urn:microsoft.com/office/officeart/2018/2/layout/IconVerticalSolidList"/>
    <dgm:cxn modelId="{68F0914D-C87F-4C75-807B-A4EA6BB5B7C5}" srcId="{04CC2E99-A433-4D9E-BA2D-CA8A04B951CB}" destId="{40DBF775-0CC4-4B31-A9E7-560D2EF30795}" srcOrd="2" destOrd="0" parTransId="{89C65D98-2989-4FE8-B671-50C6A8318E56}" sibTransId="{FECD9BE8-2AA3-4302-AF96-EBDB6E11912C}"/>
    <dgm:cxn modelId="{E66C8667-1793-418F-8A94-0DCF0DA79261}" type="presOf" srcId="{04CC2E99-A433-4D9E-BA2D-CA8A04B951CB}" destId="{8125B282-E5CD-4D9D-A4AB-947CE84A3E55}" srcOrd="0" destOrd="0" presId="urn:microsoft.com/office/officeart/2018/2/layout/IconVerticalSolidList"/>
    <dgm:cxn modelId="{83BB9687-8902-4AB2-B977-5BC4EB146ADC}" srcId="{04CC2E99-A433-4D9E-BA2D-CA8A04B951CB}" destId="{5A68575D-8E60-4BB1-99E6-940A83A73C12}" srcOrd="3" destOrd="0" parTransId="{06F7501F-7673-462E-AA71-94FC807FC711}" sibTransId="{920D5CC3-BFC0-408C-9EEB-F39C76072770}"/>
    <dgm:cxn modelId="{4F6EC888-FAF5-4CF4-9D81-1F549EB1D488}" type="presOf" srcId="{5A68575D-8E60-4BB1-99E6-940A83A73C12}" destId="{E415D641-252A-44E8-8E1D-ED64216A74CE}" srcOrd="0" destOrd="0" presId="urn:microsoft.com/office/officeart/2018/2/layout/IconVerticalSolidList"/>
    <dgm:cxn modelId="{C77F8792-41D9-43CB-8C6C-0B64A7C0A102}" srcId="{04CC2E99-A433-4D9E-BA2D-CA8A04B951CB}" destId="{DE3C34EF-1036-442B-A9B9-FB2152D4A9DD}" srcOrd="0" destOrd="0" parTransId="{DE1E7C3B-1AD3-4F73-98F7-18DA72B55E6F}" sibTransId="{21F599CA-D087-42BB-8C96-8E9DE567C909}"/>
    <dgm:cxn modelId="{CE81529D-75A9-4B46-AD52-AC14A5FEB2F5}" type="presOf" srcId="{DE3C34EF-1036-442B-A9B9-FB2152D4A9DD}" destId="{9DF748CB-B7DC-444E-912F-AF12B89EE14F}" srcOrd="0" destOrd="0" presId="urn:microsoft.com/office/officeart/2018/2/layout/IconVerticalSolidList"/>
    <dgm:cxn modelId="{8AC3F4C0-691D-43D5-83EC-543AB4655EEE}" type="presOf" srcId="{40DBF775-0CC4-4B31-A9E7-560D2EF30795}" destId="{F89E1BAD-625F-40C4-8E89-0BA9376B668A}" srcOrd="0" destOrd="0" presId="urn:microsoft.com/office/officeart/2018/2/layout/IconVerticalSolidList"/>
    <dgm:cxn modelId="{3B6F2FC5-529A-8343-A7FD-369DFBDA6EE8}" type="presOf" srcId="{935443B2-EFD8-E74B-A798-8117A5A9AFA5}" destId="{56D532AC-86A1-C64A-A7DB-789C4549FB25}" srcOrd="0" destOrd="0" presId="urn:microsoft.com/office/officeart/2018/2/layout/IconVerticalSolidList"/>
    <dgm:cxn modelId="{FF05F27B-AF47-4C60-8D0A-1FCEAEB20C9B}" type="presParOf" srcId="{8125B282-E5CD-4D9D-A4AB-947CE84A3E55}" destId="{0E408E70-0768-4685-ADFE-C058545A54D7}" srcOrd="0" destOrd="0" presId="urn:microsoft.com/office/officeart/2018/2/layout/IconVerticalSolidList"/>
    <dgm:cxn modelId="{E3073A0C-446B-44FA-8383-695C3E97F012}" type="presParOf" srcId="{0E408E70-0768-4685-ADFE-C058545A54D7}" destId="{43303E5F-1A2A-4465-BB6D-7AAEAEC7A742}" srcOrd="0" destOrd="0" presId="urn:microsoft.com/office/officeart/2018/2/layout/IconVerticalSolidList"/>
    <dgm:cxn modelId="{A3026E2C-9198-40E7-A0BC-DE9181C17F55}" type="presParOf" srcId="{0E408E70-0768-4685-ADFE-C058545A54D7}" destId="{774C47BF-1F3C-442B-8D1F-B0FD6C4404A0}" srcOrd="1" destOrd="0" presId="urn:microsoft.com/office/officeart/2018/2/layout/IconVerticalSolidList"/>
    <dgm:cxn modelId="{436052AD-FA07-49A6-9049-D725FC251033}" type="presParOf" srcId="{0E408E70-0768-4685-ADFE-C058545A54D7}" destId="{0B51CECC-02F6-43C1-911B-4C1CE259CD09}" srcOrd="2" destOrd="0" presId="urn:microsoft.com/office/officeart/2018/2/layout/IconVerticalSolidList"/>
    <dgm:cxn modelId="{98F10503-B07C-4488-89E6-C13BAEC6F73C}" type="presParOf" srcId="{0E408E70-0768-4685-ADFE-C058545A54D7}" destId="{9DF748CB-B7DC-444E-912F-AF12B89EE14F}" srcOrd="3" destOrd="0" presId="urn:microsoft.com/office/officeart/2018/2/layout/IconVerticalSolidList"/>
    <dgm:cxn modelId="{6F2E4BDB-DA17-4212-A43D-4B398825F9C0}" type="presParOf" srcId="{8125B282-E5CD-4D9D-A4AB-947CE84A3E55}" destId="{94CB9A59-825E-482B-A7B7-76AD90F9C699}" srcOrd="1" destOrd="0" presId="urn:microsoft.com/office/officeart/2018/2/layout/IconVerticalSolidList"/>
    <dgm:cxn modelId="{2B3E0211-D11B-2E47-949C-C876286DD613}" type="presParOf" srcId="{8125B282-E5CD-4D9D-A4AB-947CE84A3E55}" destId="{7B9A0183-FC2C-DC4E-8540-0A5917B36688}" srcOrd="2" destOrd="0" presId="urn:microsoft.com/office/officeart/2018/2/layout/IconVerticalSolidList"/>
    <dgm:cxn modelId="{8AC694BE-B065-E842-8FBA-D001541B65C0}" type="presParOf" srcId="{7B9A0183-FC2C-DC4E-8540-0A5917B36688}" destId="{4D29468D-05F5-BD48-8291-93664DB8DB9B}" srcOrd="0" destOrd="0" presId="urn:microsoft.com/office/officeart/2018/2/layout/IconVerticalSolidList"/>
    <dgm:cxn modelId="{4504A2C5-EC5D-9F4A-9E65-955EEC71302A}" type="presParOf" srcId="{7B9A0183-FC2C-DC4E-8540-0A5917B36688}" destId="{E15930FB-82ED-F14D-9B84-1975B27C0460}" srcOrd="1" destOrd="0" presId="urn:microsoft.com/office/officeart/2018/2/layout/IconVerticalSolidList"/>
    <dgm:cxn modelId="{E6603095-8C78-BC4F-990A-B6C8CA955FAC}" type="presParOf" srcId="{7B9A0183-FC2C-DC4E-8540-0A5917B36688}" destId="{C65F934A-4134-434C-A5D7-37336CA6C4AA}" srcOrd="2" destOrd="0" presId="urn:microsoft.com/office/officeart/2018/2/layout/IconVerticalSolidList"/>
    <dgm:cxn modelId="{3297F586-D504-084A-8984-B6B02D306D21}" type="presParOf" srcId="{7B9A0183-FC2C-DC4E-8540-0A5917B36688}" destId="{56D532AC-86A1-C64A-A7DB-789C4549FB25}" srcOrd="3" destOrd="0" presId="urn:microsoft.com/office/officeart/2018/2/layout/IconVerticalSolidList"/>
    <dgm:cxn modelId="{A3DDEAE5-6871-7640-8A30-F32214DA2627}" type="presParOf" srcId="{8125B282-E5CD-4D9D-A4AB-947CE84A3E55}" destId="{14C6C424-2C00-FB41-95F7-617C03F71ED2}" srcOrd="3" destOrd="0" presId="urn:microsoft.com/office/officeart/2018/2/layout/IconVerticalSolidList"/>
    <dgm:cxn modelId="{DAA97373-5047-4A39-9187-6CC0C4910930}" type="presParOf" srcId="{8125B282-E5CD-4D9D-A4AB-947CE84A3E55}" destId="{5887919F-E0F5-419E-9305-2FCBCF81E3D8}" srcOrd="4" destOrd="0" presId="urn:microsoft.com/office/officeart/2018/2/layout/IconVerticalSolidList"/>
    <dgm:cxn modelId="{D75A8F03-FA2E-40ED-B226-47C476B53A5D}" type="presParOf" srcId="{5887919F-E0F5-419E-9305-2FCBCF81E3D8}" destId="{2F92F412-CF6B-47DB-82DA-65BE6CB19C51}" srcOrd="0" destOrd="0" presId="urn:microsoft.com/office/officeart/2018/2/layout/IconVerticalSolidList"/>
    <dgm:cxn modelId="{F2A20645-C7D9-42EC-8F98-3E1F489E920F}" type="presParOf" srcId="{5887919F-E0F5-419E-9305-2FCBCF81E3D8}" destId="{450D11D4-0EC1-472E-B71E-4CFF15C4FD7A}" srcOrd="1" destOrd="0" presId="urn:microsoft.com/office/officeart/2018/2/layout/IconVerticalSolidList"/>
    <dgm:cxn modelId="{5EA84F26-1F4C-403B-90C9-2DEBBA7795D5}" type="presParOf" srcId="{5887919F-E0F5-419E-9305-2FCBCF81E3D8}" destId="{C0E347D1-983B-4308-AFD5-30F4BFE49F5D}" srcOrd="2" destOrd="0" presId="urn:microsoft.com/office/officeart/2018/2/layout/IconVerticalSolidList"/>
    <dgm:cxn modelId="{03861CAE-BDE8-47DF-9C6F-C7095C3EB00F}" type="presParOf" srcId="{5887919F-E0F5-419E-9305-2FCBCF81E3D8}" destId="{F89E1BAD-625F-40C4-8E89-0BA9376B668A}" srcOrd="3" destOrd="0" presId="urn:microsoft.com/office/officeart/2018/2/layout/IconVerticalSolidList"/>
    <dgm:cxn modelId="{9C7CD280-1A55-43C7-BE57-B2D1E06C8E23}" type="presParOf" srcId="{8125B282-E5CD-4D9D-A4AB-947CE84A3E55}" destId="{B5E4787D-9A67-41AD-B5F2-B25712F19547}" srcOrd="5" destOrd="0" presId="urn:microsoft.com/office/officeart/2018/2/layout/IconVerticalSolidList"/>
    <dgm:cxn modelId="{F66147C2-F7A0-40A6-A5BA-A3BE4DB85768}" type="presParOf" srcId="{8125B282-E5CD-4D9D-A4AB-947CE84A3E55}" destId="{EF4DA583-546F-4ECA-BE04-0D62D6C111AE}" srcOrd="6" destOrd="0" presId="urn:microsoft.com/office/officeart/2018/2/layout/IconVerticalSolidList"/>
    <dgm:cxn modelId="{7947F0A9-3718-4D6F-9552-3ED3AC7D5B9D}" type="presParOf" srcId="{EF4DA583-546F-4ECA-BE04-0D62D6C111AE}" destId="{CF15859F-26F1-4D1A-B510-060D7C6868A1}" srcOrd="0" destOrd="0" presId="urn:microsoft.com/office/officeart/2018/2/layout/IconVerticalSolidList"/>
    <dgm:cxn modelId="{2B96809E-8873-4A42-914C-BB54325AC7C1}" type="presParOf" srcId="{EF4DA583-546F-4ECA-BE04-0D62D6C111AE}" destId="{E04063C5-C1A6-4F48-A98F-8880E4624092}" srcOrd="1" destOrd="0" presId="urn:microsoft.com/office/officeart/2018/2/layout/IconVerticalSolidList"/>
    <dgm:cxn modelId="{739E696F-CA2E-4E0D-86EF-750B0698939F}" type="presParOf" srcId="{EF4DA583-546F-4ECA-BE04-0D62D6C111AE}" destId="{FADEEE89-CFEB-43C1-8E00-A29A2F4C069C}" srcOrd="2" destOrd="0" presId="urn:microsoft.com/office/officeart/2018/2/layout/IconVerticalSolidList"/>
    <dgm:cxn modelId="{C955C9B2-D6C4-479F-82CF-8778C5E58F5B}" type="presParOf" srcId="{EF4DA583-546F-4ECA-BE04-0D62D6C111AE}" destId="{E415D641-252A-44E8-8E1D-ED64216A74CE}" srcOrd="3" destOrd="0" presId="urn:microsoft.com/office/officeart/2018/2/layout/IconVerticalSolidList"/>
    <dgm:cxn modelId="{85E69810-D717-40B6-B480-BAF9917E41DF}" type="presParOf" srcId="{8125B282-E5CD-4D9D-A4AB-947CE84A3E55}" destId="{2EC6F11A-CBA6-4F92-AE70-32D19C3700AD}" srcOrd="7" destOrd="0" presId="urn:microsoft.com/office/officeart/2018/2/layout/IconVerticalSolidList"/>
    <dgm:cxn modelId="{ACEB0DA7-C702-4E24-8558-2FB59201604C}" type="presParOf" srcId="{8125B282-E5CD-4D9D-A4AB-947CE84A3E55}" destId="{5FFCE391-F5BD-4D76-90FD-6C75CF4D60F1}" srcOrd="8" destOrd="0" presId="urn:microsoft.com/office/officeart/2018/2/layout/IconVerticalSolidList"/>
    <dgm:cxn modelId="{4730F199-0BF0-4D6F-96BE-59522E8039EB}" type="presParOf" srcId="{5FFCE391-F5BD-4D76-90FD-6C75CF4D60F1}" destId="{C38C3667-539C-4DE9-90AE-F85827BC2B9C}" srcOrd="0" destOrd="0" presId="urn:microsoft.com/office/officeart/2018/2/layout/IconVerticalSolidList"/>
    <dgm:cxn modelId="{26F5B919-0281-4961-ACE6-F174C7028C20}" type="presParOf" srcId="{5FFCE391-F5BD-4D76-90FD-6C75CF4D60F1}" destId="{1A37D62C-40F9-4CB2-8C31-2F2200AF7032}" srcOrd="1" destOrd="0" presId="urn:microsoft.com/office/officeart/2018/2/layout/IconVerticalSolidList"/>
    <dgm:cxn modelId="{E90ADBD3-AEA9-4A92-97FB-B7D639114783}" type="presParOf" srcId="{5FFCE391-F5BD-4D76-90FD-6C75CF4D60F1}" destId="{09317BD8-6377-4C78-88FF-0496F7141B5B}" srcOrd="2" destOrd="0" presId="urn:microsoft.com/office/officeart/2018/2/layout/IconVerticalSolidList"/>
    <dgm:cxn modelId="{265B2813-A971-4E1C-AB7C-D9C1921DDE20}" type="presParOf" srcId="{5FFCE391-F5BD-4D76-90FD-6C75CF4D60F1}" destId="{835D2161-4B7C-4F1E-94B8-DD4E64042A1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303E5F-1A2A-4465-BB6D-7AAEAEC7A742}">
      <dsp:nvSpPr>
        <dsp:cNvPr id="0" name=""/>
        <dsp:cNvSpPr/>
      </dsp:nvSpPr>
      <dsp:spPr>
        <a:xfrm>
          <a:off x="0" y="3684"/>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4C47BF-1F3C-442B-8D1F-B0FD6C4404A0}">
      <dsp:nvSpPr>
        <dsp:cNvPr id="0" name=""/>
        <dsp:cNvSpPr/>
      </dsp:nvSpPr>
      <dsp:spPr>
        <a:xfrm>
          <a:off x="237393" y="180258"/>
          <a:ext cx="431624" cy="4316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DF748CB-B7DC-444E-912F-AF12B89EE14F}">
      <dsp:nvSpPr>
        <dsp:cNvPr id="0" name=""/>
        <dsp:cNvSpPr/>
      </dsp:nvSpPr>
      <dsp:spPr>
        <a:xfrm>
          <a:off x="906411" y="3684"/>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DE" sz="1900" kern="1200"/>
            <a:t>25 years of continious innovation</a:t>
          </a:r>
          <a:endParaRPr lang="en-US" sz="1900" kern="1200"/>
        </a:p>
      </dsp:txBody>
      <dsp:txXfrm>
        <a:off x="906411" y="3684"/>
        <a:ext cx="10275876" cy="784771"/>
      </dsp:txXfrm>
    </dsp:sp>
    <dsp:sp modelId="{4D29468D-05F5-BD48-8291-93664DB8DB9B}">
      <dsp:nvSpPr>
        <dsp:cNvPr id="0" name=""/>
        <dsp:cNvSpPr/>
      </dsp:nvSpPr>
      <dsp:spPr>
        <a:xfrm>
          <a:off x="0" y="984649"/>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5930FB-82ED-F14D-9B84-1975B27C0460}">
      <dsp:nvSpPr>
        <dsp:cNvPr id="0" name=""/>
        <dsp:cNvSpPr/>
      </dsp:nvSpPr>
      <dsp:spPr>
        <a:xfrm>
          <a:off x="237393" y="1161222"/>
          <a:ext cx="431624" cy="431624"/>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D532AC-86A1-C64A-A7DB-789C4549FB25}">
      <dsp:nvSpPr>
        <dsp:cNvPr id="0" name=""/>
        <dsp:cNvSpPr/>
      </dsp:nvSpPr>
      <dsp:spPr>
        <a:xfrm>
          <a:off x="906411" y="984649"/>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US" sz="1900" kern="1200" dirty="0"/>
            <a:t>In-App extensibility fashion, or in other words, vertical </a:t>
          </a:r>
          <a:r>
            <a:rPr lang="en-US" sz="1900" kern="1200" dirty="0" err="1"/>
            <a:t>extensbility</a:t>
          </a:r>
          <a:endParaRPr lang="en-US" sz="1900" kern="1200" dirty="0"/>
        </a:p>
      </dsp:txBody>
      <dsp:txXfrm>
        <a:off x="906411" y="984649"/>
        <a:ext cx="10275876" cy="784771"/>
      </dsp:txXfrm>
    </dsp:sp>
    <dsp:sp modelId="{2F92F412-CF6B-47DB-82DA-65BE6CB19C51}">
      <dsp:nvSpPr>
        <dsp:cNvPr id="0" name=""/>
        <dsp:cNvSpPr/>
      </dsp:nvSpPr>
      <dsp:spPr>
        <a:xfrm>
          <a:off x="0" y="1965614"/>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0D11D4-0EC1-472E-B71E-4CFF15C4FD7A}">
      <dsp:nvSpPr>
        <dsp:cNvPr id="0" name=""/>
        <dsp:cNvSpPr/>
      </dsp:nvSpPr>
      <dsp:spPr>
        <a:xfrm>
          <a:off x="237393" y="2142187"/>
          <a:ext cx="431624" cy="4316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89E1BAD-625F-40C4-8E89-0BA9376B668A}">
      <dsp:nvSpPr>
        <dsp:cNvPr id="0" name=""/>
        <dsp:cNvSpPr/>
      </dsp:nvSpPr>
      <dsp:spPr>
        <a:xfrm>
          <a:off x="906411" y="1965614"/>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DE" sz="1900" kern="1200"/>
            <a:t>Broad customer adoption </a:t>
          </a:r>
          <a:endParaRPr lang="en-US" sz="1900" kern="1200"/>
        </a:p>
      </dsp:txBody>
      <dsp:txXfrm>
        <a:off x="906411" y="1965614"/>
        <a:ext cx="10275876" cy="784771"/>
      </dsp:txXfrm>
    </dsp:sp>
    <dsp:sp modelId="{CF15859F-26F1-4D1A-B510-060D7C6868A1}">
      <dsp:nvSpPr>
        <dsp:cNvPr id="0" name=""/>
        <dsp:cNvSpPr/>
      </dsp:nvSpPr>
      <dsp:spPr>
        <a:xfrm>
          <a:off x="0" y="2946578"/>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4063C5-C1A6-4F48-A98F-8880E4624092}">
      <dsp:nvSpPr>
        <dsp:cNvPr id="0" name=""/>
        <dsp:cNvSpPr/>
      </dsp:nvSpPr>
      <dsp:spPr>
        <a:xfrm>
          <a:off x="237393" y="3123152"/>
          <a:ext cx="431624" cy="4316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415D641-252A-44E8-8E1D-ED64216A74CE}">
      <dsp:nvSpPr>
        <dsp:cNvPr id="0" name=""/>
        <dsp:cNvSpPr/>
      </dsp:nvSpPr>
      <dsp:spPr>
        <a:xfrm>
          <a:off x="906411" y="2946578"/>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DE" sz="1900" kern="1200"/>
            <a:t>Rich community and ecosystems</a:t>
          </a:r>
          <a:endParaRPr lang="en-US" sz="1900" kern="1200"/>
        </a:p>
      </dsp:txBody>
      <dsp:txXfrm>
        <a:off x="906411" y="2946578"/>
        <a:ext cx="10275876" cy="784771"/>
      </dsp:txXfrm>
    </dsp:sp>
    <dsp:sp modelId="{C38C3667-539C-4DE9-90AE-F85827BC2B9C}">
      <dsp:nvSpPr>
        <dsp:cNvPr id="0" name=""/>
        <dsp:cNvSpPr/>
      </dsp:nvSpPr>
      <dsp:spPr>
        <a:xfrm>
          <a:off x="0" y="3927543"/>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37D62C-40F9-4CB2-8C31-2F2200AF7032}">
      <dsp:nvSpPr>
        <dsp:cNvPr id="0" name=""/>
        <dsp:cNvSpPr/>
      </dsp:nvSpPr>
      <dsp:spPr>
        <a:xfrm>
          <a:off x="237393" y="4104117"/>
          <a:ext cx="431624" cy="4316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35D2161-4B7C-4F1E-94B8-DD4E64042A15}">
      <dsp:nvSpPr>
        <dsp:cNvPr id="0" name=""/>
        <dsp:cNvSpPr/>
      </dsp:nvSpPr>
      <dsp:spPr>
        <a:xfrm>
          <a:off x="906411" y="3927543"/>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DE" sz="1900" kern="1200" dirty="0"/>
            <a:t>Feature-rich platform to support B2C and B2B businesses </a:t>
          </a:r>
          <a:endParaRPr lang="en-US" sz="1900" kern="1200" dirty="0"/>
        </a:p>
      </dsp:txBody>
      <dsp:txXfrm>
        <a:off x="906411" y="3927543"/>
        <a:ext cx="10275876" cy="7847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303E5F-1A2A-4465-BB6D-7AAEAEC7A742}">
      <dsp:nvSpPr>
        <dsp:cNvPr id="0" name=""/>
        <dsp:cNvSpPr/>
      </dsp:nvSpPr>
      <dsp:spPr>
        <a:xfrm>
          <a:off x="0" y="3684"/>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4C47BF-1F3C-442B-8D1F-B0FD6C4404A0}">
      <dsp:nvSpPr>
        <dsp:cNvPr id="0" name=""/>
        <dsp:cNvSpPr/>
      </dsp:nvSpPr>
      <dsp:spPr>
        <a:xfrm>
          <a:off x="237393" y="180258"/>
          <a:ext cx="431624" cy="4316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DF748CB-B7DC-444E-912F-AF12B89EE14F}">
      <dsp:nvSpPr>
        <dsp:cNvPr id="0" name=""/>
        <dsp:cNvSpPr/>
      </dsp:nvSpPr>
      <dsp:spPr>
        <a:xfrm>
          <a:off x="906411" y="3684"/>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US" sz="1900" kern="1200" dirty="0"/>
            <a:t>More of side-by-side extensibility than vertical extensibility</a:t>
          </a:r>
        </a:p>
      </dsp:txBody>
      <dsp:txXfrm>
        <a:off x="906411" y="3684"/>
        <a:ext cx="10275876" cy="784771"/>
      </dsp:txXfrm>
    </dsp:sp>
    <dsp:sp modelId="{4D29468D-05F5-BD48-8291-93664DB8DB9B}">
      <dsp:nvSpPr>
        <dsp:cNvPr id="0" name=""/>
        <dsp:cNvSpPr/>
      </dsp:nvSpPr>
      <dsp:spPr>
        <a:xfrm>
          <a:off x="0" y="984649"/>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5930FB-82ED-F14D-9B84-1975B27C0460}">
      <dsp:nvSpPr>
        <dsp:cNvPr id="0" name=""/>
        <dsp:cNvSpPr/>
      </dsp:nvSpPr>
      <dsp:spPr>
        <a:xfrm>
          <a:off x="237393" y="1161222"/>
          <a:ext cx="431624" cy="431624"/>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D532AC-86A1-C64A-A7DB-789C4549FB25}">
      <dsp:nvSpPr>
        <dsp:cNvPr id="0" name=""/>
        <dsp:cNvSpPr/>
      </dsp:nvSpPr>
      <dsp:spPr>
        <a:xfrm>
          <a:off x="906411" y="984649"/>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US" sz="1900" kern="1200" dirty="0"/>
            <a:t>More than 150 events are automatically sent to chosen targets for processing and augmented business logic</a:t>
          </a:r>
        </a:p>
      </dsp:txBody>
      <dsp:txXfrm>
        <a:off x="906411" y="984649"/>
        <a:ext cx="10275876" cy="784771"/>
      </dsp:txXfrm>
    </dsp:sp>
    <dsp:sp modelId="{2F92F412-CF6B-47DB-82DA-65BE6CB19C51}">
      <dsp:nvSpPr>
        <dsp:cNvPr id="0" name=""/>
        <dsp:cNvSpPr/>
      </dsp:nvSpPr>
      <dsp:spPr>
        <a:xfrm>
          <a:off x="0" y="1965614"/>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0D11D4-0EC1-472E-B71E-4CFF15C4FD7A}">
      <dsp:nvSpPr>
        <dsp:cNvPr id="0" name=""/>
        <dsp:cNvSpPr/>
      </dsp:nvSpPr>
      <dsp:spPr>
        <a:xfrm>
          <a:off x="237393" y="2142187"/>
          <a:ext cx="431624" cy="4316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89E1BAD-625F-40C4-8E89-0BA9376B668A}">
      <dsp:nvSpPr>
        <dsp:cNvPr id="0" name=""/>
        <dsp:cNvSpPr/>
      </dsp:nvSpPr>
      <dsp:spPr>
        <a:xfrm>
          <a:off x="906411" y="1965614"/>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DE" sz="1900" kern="1200" dirty="0"/>
            <a:t>Headless, API first and event driven</a:t>
          </a:r>
          <a:endParaRPr lang="en-US" sz="1900" kern="1200" dirty="0"/>
        </a:p>
      </dsp:txBody>
      <dsp:txXfrm>
        <a:off x="906411" y="1965614"/>
        <a:ext cx="10275876" cy="784771"/>
      </dsp:txXfrm>
    </dsp:sp>
    <dsp:sp modelId="{CF15859F-26F1-4D1A-B510-060D7C6868A1}">
      <dsp:nvSpPr>
        <dsp:cNvPr id="0" name=""/>
        <dsp:cNvSpPr/>
      </dsp:nvSpPr>
      <dsp:spPr>
        <a:xfrm>
          <a:off x="0" y="2946578"/>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4063C5-C1A6-4F48-A98F-8880E4624092}">
      <dsp:nvSpPr>
        <dsp:cNvPr id="0" name=""/>
        <dsp:cNvSpPr/>
      </dsp:nvSpPr>
      <dsp:spPr>
        <a:xfrm>
          <a:off x="237393" y="3123152"/>
          <a:ext cx="431624" cy="4316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415D641-252A-44E8-8E1D-ED64216A74CE}">
      <dsp:nvSpPr>
        <dsp:cNvPr id="0" name=""/>
        <dsp:cNvSpPr/>
      </dsp:nvSpPr>
      <dsp:spPr>
        <a:xfrm>
          <a:off x="906411" y="2946578"/>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DE" sz="1900" kern="1200"/>
            <a:t>Support for custom </a:t>
          </a:r>
          <a:r>
            <a:rPr lang="en-DE" sz="1900" kern="1200" dirty="0"/>
            <a:t>events to handle sophisticated use cases</a:t>
          </a:r>
          <a:endParaRPr lang="en-US" sz="1900" kern="1200" dirty="0"/>
        </a:p>
      </dsp:txBody>
      <dsp:txXfrm>
        <a:off x="906411" y="2946578"/>
        <a:ext cx="10275876" cy="784771"/>
      </dsp:txXfrm>
    </dsp:sp>
    <dsp:sp modelId="{C38C3667-539C-4DE9-90AE-F85827BC2B9C}">
      <dsp:nvSpPr>
        <dsp:cNvPr id="0" name=""/>
        <dsp:cNvSpPr/>
      </dsp:nvSpPr>
      <dsp:spPr>
        <a:xfrm>
          <a:off x="0" y="3927543"/>
          <a:ext cx="11182288" cy="78477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37D62C-40F9-4CB2-8C31-2F2200AF7032}">
      <dsp:nvSpPr>
        <dsp:cNvPr id="0" name=""/>
        <dsp:cNvSpPr/>
      </dsp:nvSpPr>
      <dsp:spPr>
        <a:xfrm>
          <a:off x="237393" y="4104117"/>
          <a:ext cx="431624" cy="4316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35D2161-4B7C-4F1E-94B8-DD4E64042A15}">
      <dsp:nvSpPr>
        <dsp:cNvPr id="0" name=""/>
        <dsp:cNvSpPr/>
      </dsp:nvSpPr>
      <dsp:spPr>
        <a:xfrm>
          <a:off x="906411" y="3927543"/>
          <a:ext cx="10275876" cy="784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55" tIns="83055" rIns="83055" bIns="83055" numCol="1" spcCol="1270" anchor="ctr" anchorCtr="0">
          <a:noAutofit/>
        </a:bodyPr>
        <a:lstStyle/>
        <a:p>
          <a:pPr marL="0" lvl="0" indent="0" algn="l" defTabSz="844550">
            <a:lnSpc>
              <a:spcPct val="100000"/>
            </a:lnSpc>
            <a:spcBef>
              <a:spcPct val="0"/>
            </a:spcBef>
            <a:spcAft>
              <a:spcPct val="35000"/>
            </a:spcAft>
            <a:buNone/>
          </a:pPr>
          <a:r>
            <a:rPr lang="en-US" sz="1900" kern="1200" dirty="0"/>
            <a:t>Secure and robust integration with </a:t>
          </a:r>
          <a:r>
            <a:rPr lang="en-US" sz="1900" kern="1200" dirty="0" err="1"/>
            <a:t>Kyma</a:t>
          </a:r>
          <a:r>
            <a:rPr lang="en-US" sz="1900" kern="1200" dirty="0"/>
            <a:t> runtime</a:t>
          </a:r>
        </a:p>
      </dsp:txBody>
      <dsp:txXfrm>
        <a:off x="906411" y="3927543"/>
        <a:ext cx="10275876" cy="784771"/>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45BBA2-B307-FF42-8517-305BF28C0F70}" type="datetimeFigureOut">
              <a:rPr lang="en-US" smtClean="0"/>
              <a:t>11/8/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A9878A-1E4D-374F-AC6B-490520C94362}" type="slidenum">
              <a:rPr lang="en-US" smtClean="0"/>
              <a:t>‹#›</a:t>
            </a:fld>
            <a:endParaRPr lang="en-US"/>
          </a:p>
        </p:txBody>
      </p:sp>
    </p:spTree>
    <p:extLst>
      <p:ext uri="{BB962C8B-B14F-4D97-AF65-F5344CB8AC3E}">
        <p14:creationId xmlns:p14="http://schemas.microsoft.com/office/powerpoint/2010/main" val="3093518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CA9878A-1E4D-374F-AC6B-490520C94362}" type="slidenum">
              <a:rPr lang="en-US" smtClean="0"/>
              <a:t>1</a:t>
            </a:fld>
            <a:endParaRPr lang="en-US"/>
          </a:p>
        </p:txBody>
      </p:sp>
    </p:spTree>
    <p:extLst>
      <p:ext uri="{BB962C8B-B14F-4D97-AF65-F5344CB8AC3E}">
        <p14:creationId xmlns:p14="http://schemas.microsoft.com/office/powerpoint/2010/main" val="1113274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9CA9878A-1E4D-374F-AC6B-490520C94362}" type="slidenum">
              <a:rPr lang="en-US" smtClean="0"/>
              <a:t>6</a:t>
            </a:fld>
            <a:endParaRPr lang="en-US"/>
          </a:p>
        </p:txBody>
      </p:sp>
    </p:spTree>
    <p:extLst>
      <p:ext uri="{BB962C8B-B14F-4D97-AF65-F5344CB8AC3E}">
        <p14:creationId xmlns:p14="http://schemas.microsoft.com/office/powerpoint/2010/main" val="9609932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1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png"/><Relationship Id="rId7" Type="http://schemas.openxmlformats.org/officeDocument/2006/relationships/hyperlink" Target="https://www.youtube.com/user/SAP" TargetMode="External"/><Relationship Id="rId12" Type="http://schemas.openxmlformats.org/officeDocument/2006/relationships/image" Target="../media/image1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14.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6665" y="6217668"/>
            <a:ext cx="1963124"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19" name="Speaker"/>
          <p:cNvSpPr>
            <a:spLocks noGrp="1"/>
          </p:cNvSpPr>
          <p:nvPr userDrawn="1">
            <p:ph type="subTitle" idx="1" hasCustomPrompt="1"/>
          </p:nvPr>
        </p:nvSpPr>
        <p:spPr bwMode="black">
          <a:xfrm>
            <a:off x="287925" y="5130490"/>
            <a:ext cx="10896336"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1999"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3781199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17513920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6503741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0828735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2345996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5659829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2180553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0"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02807320"/>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5195348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1832300"/>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99901415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24" y="4268504"/>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7925" y="2706317"/>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6665" y="6217668"/>
            <a:ext cx="1963124" cy="360000"/>
          </a:xfrm>
          <a:prstGeom prst="rect">
            <a:avLst/>
          </a:prstGeom>
        </p:spPr>
      </p:pic>
    </p:spTree>
    <p:extLst>
      <p:ext uri="{BB962C8B-B14F-4D97-AF65-F5344CB8AC3E}">
        <p14:creationId xmlns:p14="http://schemas.microsoft.com/office/powerpoint/2010/main" val="14542585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370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3033" y="5994000"/>
            <a:ext cx="1963124" cy="360000"/>
          </a:xfrm>
          <a:prstGeom prst="rect">
            <a:avLst/>
          </a:prstGeom>
        </p:spPr>
      </p:pic>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8">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61750248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3033" y="5994000"/>
            <a:ext cx="1963124" cy="360000"/>
          </a:xfrm>
          <a:prstGeom prst="rect">
            <a:avLst/>
          </a:prstGeom>
        </p:spPr>
      </p:pic>
      <p:sp>
        <p:nvSpPr>
          <p:cNvPr id="19" name="Copyright information English"/>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1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222" y="1749960"/>
            <a:ext cx="361715"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2840" y="1749063"/>
            <a:ext cx="363505"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248" y="1749960"/>
            <a:ext cx="361715"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866" y="1749063"/>
            <a:ext cx="363505" cy="363600"/>
          </a:xfrm>
          <a:prstGeom prst="rect">
            <a:avLst/>
          </a:prstGeom>
        </p:spPr>
      </p:pic>
      <p:sp>
        <p:nvSpPr>
          <p:cNvPr id="43"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174778414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107" y="2461399"/>
            <a:ext cx="2579968"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3033" y="5994000"/>
            <a:ext cx="1963124" cy="360000"/>
          </a:xfrm>
          <a:prstGeom prst="rect">
            <a:avLst/>
          </a:prstGeom>
        </p:spPr>
      </p:pic>
      <p:sp>
        <p:nvSpPr>
          <p:cNvPr id="32" name="Copyright information-German"/>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0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222" y="1749960"/>
            <a:ext cx="361715"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2840" y="1749063"/>
            <a:ext cx="363505"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248" y="1749960"/>
            <a:ext cx="361715"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866" y="1749063"/>
            <a:ext cx="363505" cy="363600"/>
          </a:xfrm>
          <a:prstGeom prst="rect">
            <a:avLst/>
          </a:prstGeom>
        </p:spPr>
      </p:pic>
      <p:sp>
        <p:nvSpPr>
          <p:cNvPr id="20"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259029776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245C97-7934-4F5C-83B8-89A602325E69}"/>
              </a:ext>
            </a:extLst>
          </p:cNvPr>
          <p:cNvGraphicFramePr>
            <a:graphicFrameLocks noChangeAspect="1"/>
          </p:cNvGraphicFramePr>
          <p:nvPr userDrawn="1">
            <p:custDataLst>
              <p:tags r:id="rId2"/>
            </p:custDataLst>
            <p:extLst>
              <p:ext uri="{D42A27DB-BD31-4B8C-83A1-F6EECF244321}">
                <p14:modId xmlns:p14="http://schemas.microsoft.com/office/powerpoint/2010/main" val="21982353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E8245C97-7934-4F5C-83B8-89A602325E69}"/>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A3CEBA-E002-4CDE-A6BE-CC1775F13C8B}"/>
              </a:ext>
            </a:extLst>
          </p:cNvPr>
          <p:cNvSpPr/>
          <p:nvPr userDrawn="1">
            <p:custDataLst>
              <p:tags r:id="rId3"/>
            </p:custDataLst>
          </p:nvPr>
        </p:nvSpPr>
        <p:spPr bwMode="gray">
          <a:xfrm>
            <a:off x="0" y="0"/>
            <a:ext cx="158709"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marL="0" marR="0" lvl="0" indent="0" algn="ctr" defTabSz="914126" eaLnBrk="1" fontAlgn="base" latinLnBrk="0" hangingPunct="1">
              <a:lnSpc>
                <a:spcPct val="100000"/>
              </a:lnSpc>
              <a:spcBef>
                <a:spcPct val="50000"/>
              </a:spcBef>
              <a:spcAft>
                <a:spcPct val="0"/>
              </a:spcAft>
              <a:buClr>
                <a:srgbClr val="F0AB00"/>
              </a:buClr>
              <a:buSzPct val="80000"/>
              <a:tabLst/>
            </a:pPr>
            <a:endParaRPr kumimoji="0" lang="en-US" sz="3599" b="1" i="0" u="none" strike="noStrike" kern="0" cap="none" spc="0" normalizeH="0" baseline="0" noProof="0" err="1">
              <a:ln>
                <a:noFill/>
              </a:ln>
              <a:effectLst/>
              <a:uLnTx/>
              <a:uFillTx/>
              <a:latin typeface="Arial" panose="020B0604020202020204" pitchFamily="34" charset="0"/>
              <a:ea typeface="+mn-ea"/>
              <a:cs typeface="+mn-cs"/>
              <a:sym typeface="Arial" panose="020B0604020202020204" pitchFamily="34" charset="0"/>
            </a:endParaRPr>
          </a:p>
        </p:txBody>
      </p:sp>
      <p:sp>
        <p:nvSpPr>
          <p:cNvPr id="5" name="Title Image Placeholder" descr="Placeholder title image" title="Title image"/>
          <p:cNvSpPr>
            <a:spLocks noGrp="1"/>
          </p:cNvSpPr>
          <p:nvPr>
            <p:ph type="pic" sz="quarter" idx="12" hasCustomPrompt="1"/>
          </p:nvPr>
        </p:nvSpPr>
        <p:spPr bwMode="gray">
          <a:xfrm>
            <a:off x="0" y="-1006"/>
            <a:ext cx="12190026" cy="3430006"/>
          </a:xfrm>
          <a:noFill/>
        </p:spPr>
        <p:txBody>
          <a:bodyPr tIns="504000"/>
          <a:lstStyle>
            <a:lvl1pPr algn="ctr">
              <a:defRPr sz="1600">
                <a:solidFill>
                  <a:schemeClr val="tx1"/>
                </a:solidFill>
              </a:defRPr>
            </a:lvl1pPr>
          </a:lstStyle>
          <a:p>
            <a:r>
              <a:rPr lang="en-US"/>
              <a:t>Click to insert title image or illustration</a:t>
            </a:r>
          </a:p>
        </p:txBody>
      </p:sp>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p>
        </p:txBody>
      </p:sp>
      <p:sp>
        <p:nvSpPr>
          <p:cNvPr id="19" name="Speaker"/>
          <p:cNvSpPr>
            <a:spLocks noGrp="1"/>
          </p:cNvSpPr>
          <p:nvPr userDrawn="1">
            <p:ph type="subTitle" idx="1" hasCustomPrompt="1"/>
          </p:nvPr>
        </p:nvSpPr>
        <p:spPr bwMode="black">
          <a:xfrm>
            <a:off x="287925" y="5130490"/>
            <a:ext cx="11623161" cy="430887"/>
          </a:xfrm>
        </p:spPr>
        <p:txBody>
          <a:bodyPr wrap="square" anchor="t" anchorCtr="0">
            <a:noAutofit/>
          </a:bodyPr>
          <a:lstStyle>
            <a:lvl1pPr marL="0" marR="0" indent="0" algn="l" defTabSz="914126" rtl="0" eaLnBrk="1" fontAlgn="auto" latinLnBrk="0" hangingPunct="1">
              <a:lnSpc>
                <a:spcPct val="100000"/>
              </a:lnSpc>
              <a:spcBef>
                <a:spcPts val="0"/>
              </a:spcBef>
              <a:spcAft>
                <a:spcPts val="0"/>
              </a:spcAft>
              <a:buClr>
                <a:srgbClr val="FFFFFF"/>
              </a:buClr>
              <a:buSzTx/>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pPr marL="0" marR="0" lvl="0" indent="0" algn="l" defTabSz="914126" rtl="0" eaLnBrk="1" fontAlgn="auto" latinLnBrk="0" hangingPunct="1">
              <a:lnSpc>
                <a:spcPct val="100000"/>
              </a:lnSpc>
              <a:spcBef>
                <a:spcPts val="0"/>
              </a:spcBef>
              <a:spcAft>
                <a:spcPts val="0"/>
              </a:spcAft>
              <a:buClr>
                <a:srgbClr val="FFFFFF"/>
              </a:buClr>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Arial"/>
              </a:rPr>
              <a:t>Board Member: 	</a:t>
            </a:r>
            <a:r>
              <a:rPr kumimoji="0" lang="en-US" sz="1400" b="0" i="0" u="none" strike="noStrike" kern="1200" cap="none" spc="0" normalizeH="0" baseline="0" noProof="0">
                <a:ln>
                  <a:noFill/>
                </a:ln>
                <a:solidFill>
                  <a:srgbClr val="FFFFFF"/>
                </a:solidFill>
                <a:effectLst/>
                <a:uLnTx/>
                <a:uFillTx/>
                <a:latin typeface="+mn-lt"/>
                <a:ea typeface="+mn-ea"/>
                <a:cs typeface="+mn-cs"/>
              </a:rPr>
              <a:t>Thomas Saueressig</a:t>
            </a:r>
          </a:p>
          <a:p>
            <a:pPr marL="0" marR="0" lvl="0" indent="0" algn="l" defTabSz="914126" rtl="0" eaLnBrk="1" fontAlgn="auto" latinLnBrk="0" hangingPunct="1">
              <a:lnSpc>
                <a:spcPct val="100000"/>
              </a:lnSpc>
              <a:spcBef>
                <a:spcPts val="0"/>
              </a:spcBef>
              <a:spcAft>
                <a:spcPts val="0"/>
              </a:spcAft>
              <a:buClr>
                <a:srgbClr val="FFFFFF"/>
              </a:buClr>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Arial"/>
              </a:rPr>
              <a:t>Lead: 		</a:t>
            </a:r>
            <a:r>
              <a:rPr kumimoji="0" lang="en-US" sz="1400" b="0" i="0" u="none" strike="noStrike" kern="1200" cap="none" spc="0" normalizeH="0" baseline="0" noProof="0">
                <a:ln>
                  <a:noFill/>
                </a:ln>
                <a:solidFill>
                  <a:srgbClr val="FFFFFF"/>
                </a:solidFill>
                <a:effectLst/>
                <a:uLnTx/>
                <a:uFillTx/>
                <a:latin typeface="+mn-lt"/>
                <a:ea typeface="+mn-ea"/>
                <a:cs typeface="Arial"/>
              </a:rPr>
              <a:t>Jan Gilg</a:t>
            </a:r>
          </a:p>
        </p:txBody>
      </p:sp>
      <p:sp>
        <p:nvSpPr>
          <p:cNvPr id="3" name="Title"/>
          <p:cNvSpPr>
            <a:spLocks noGrp="1"/>
          </p:cNvSpPr>
          <p:nvPr>
            <p:ph type="title" hasCustomPrompt="1"/>
          </p:nvPr>
        </p:nvSpPr>
        <p:spPr>
          <a:xfrm>
            <a:off x="287925" y="4024430"/>
            <a:ext cx="11623161"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grpSp>
        <p:nvGrpSpPr>
          <p:cNvPr id="10" name="Gruppieren 8">
            <a:extLst>
              <a:ext uri="{FF2B5EF4-FFF2-40B4-BE49-F238E27FC236}">
                <a16:creationId xmlns:a16="http://schemas.microsoft.com/office/drawing/2014/main" id="{F0225AA6-B828-4F85-BC0A-8A723DFCFEA2}"/>
              </a:ext>
            </a:extLst>
          </p:cNvPr>
          <p:cNvGrpSpPr/>
          <p:nvPr userDrawn="1"/>
        </p:nvGrpSpPr>
        <p:grpSpPr>
          <a:xfrm>
            <a:off x="8636234" y="5863424"/>
            <a:ext cx="3264667" cy="638568"/>
            <a:chOff x="12786362" y="5957280"/>
            <a:chExt cx="3265517" cy="638568"/>
          </a:xfrm>
        </p:grpSpPr>
        <p:pic>
          <p:nvPicPr>
            <p:cNvPr id="11" name="Grafik 6">
              <a:extLst>
                <a:ext uri="{FF2B5EF4-FFF2-40B4-BE49-F238E27FC236}">
                  <a16:creationId xmlns:a16="http://schemas.microsoft.com/office/drawing/2014/main" id="{2007FA53-83C4-4436-9E23-37D7E7ACF40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1"/>
            <a:stretch/>
          </p:blipFill>
          <p:spPr>
            <a:xfrm>
              <a:off x="14772640" y="6014847"/>
              <a:ext cx="1279239" cy="581001"/>
            </a:xfrm>
            <a:prstGeom prst="rect">
              <a:avLst/>
            </a:prstGeom>
          </p:spPr>
        </p:pic>
        <p:sp>
          <p:nvSpPr>
            <p:cNvPr id="12" name="Textfeld 10">
              <a:extLst>
                <a:ext uri="{FF2B5EF4-FFF2-40B4-BE49-F238E27FC236}">
                  <a16:creationId xmlns:a16="http://schemas.microsoft.com/office/drawing/2014/main" id="{E5ECDE6E-A795-49BA-9F26-333B1824E26E}"/>
                </a:ext>
              </a:extLst>
            </p:cNvPr>
            <p:cNvSpPr txBox="1"/>
            <p:nvPr userDrawn="1"/>
          </p:nvSpPr>
          <p:spPr bwMode="black">
            <a:xfrm>
              <a:off x="12791442" y="5957280"/>
              <a:ext cx="1971038" cy="430887"/>
            </a:xfrm>
            <a:prstGeom prst="rect">
              <a:avLst/>
            </a:prstGeom>
            <a:noFill/>
          </p:spPr>
          <p:txBody>
            <a:bodyPr wrap="square" lIns="0" tIns="0" rIns="0" bIns="0" rtlCol="0">
              <a:spAutoFit/>
            </a:bodyPr>
            <a:lstStyle/>
            <a:p>
              <a:pPr marL="0" marR="0" indent="0" algn="l" defTabSz="674642" eaLnBrk="1" fontAlgn="auto" latinLnBrk="0" hangingPunct="1">
                <a:lnSpc>
                  <a:spcPct val="100000"/>
                </a:lnSpc>
                <a:spcBef>
                  <a:spcPts val="0"/>
                </a:spcBef>
                <a:spcAft>
                  <a:spcPts val="0"/>
                </a:spcAft>
                <a:buClr>
                  <a:prstClr val="white"/>
                </a:buClr>
                <a:buSzTx/>
                <a:buFontTx/>
                <a:buNone/>
                <a:tabLst/>
              </a:pPr>
              <a:r>
                <a:rPr kumimoji="0" lang="en-US" sz="2799" b="1" i="0" u="none" strike="noStrike" kern="100" cap="none" spc="0" normalizeH="0" noProof="0">
                  <a:ln>
                    <a:noFill/>
                  </a:ln>
                  <a:solidFill>
                    <a:schemeClr val="tx1"/>
                  </a:solidFill>
                  <a:effectLst/>
                  <a:uLnTx/>
                  <a:uFillTx/>
                  <a:latin typeface="BentonSans Bold" panose="02000803000000020004" pitchFamily="2" charset="0"/>
                </a:rPr>
                <a:t>REINVENT</a:t>
              </a:r>
            </a:p>
          </p:txBody>
        </p:sp>
        <p:sp>
          <p:nvSpPr>
            <p:cNvPr id="14" name="Textfeld 11">
              <a:extLst>
                <a:ext uri="{FF2B5EF4-FFF2-40B4-BE49-F238E27FC236}">
                  <a16:creationId xmlns:a16="http://schemas.microsoft.com/office/drawing/2014/main" id="{42188BBD-8A8E-45B3-971F-79E6B8DC3334}"/>
                </a:ext>
              </a:extLst>
            </p:cNvPr>
            <p:cNvSpPr txBox="1"/>
            <p:nvPr userDrawn="1"/>
          </p:nvSpPr>
          <p:spPr bwMode="black">
            <a:xfrm>
              <a:off x="12786362" y="6365016"/>
              <a:ext cx="1886672" cy="184666"/>
            </a:xfrm>
            <a:prstGeom prst="rect">
              <a:avLst/>
            </a:prstGeom>
            <a:noFill/>
          </p:spPr>
          <p:txBody>
            <a:bodyPr wrap="square" lIns="0" tIns="0" rIns="0" bIns="0" rtlCol="0">
              <a:spAutoFit/>
            </a:bodyPr>
            <a:lstStyle/>
            <a:p>
              <a:pPr marL="0" marR="0" indent="0" algn="l" defTabSz="674642" eaLnBrk="1" fontAlgn="auto" latinLnBrk="0" hangingPunct="1">
                <a:lnSpc>
                  <a:spcPct val="100000"/>
                </a:lnSpc>
                <a:spcBef>
                  <a:spcPts val="0"/>
                </a:spcBef>
                <a:spcAft>
                  <a:spcPts val="0"/>
                </a:spcAft>
                <a:buClr>
                  <a:prstClr val="white"/>
                </a:buClr>
                <a:buSzTx/>
                <a:buFontTx/>
                <a:buNone/>
                <a:tabLst/>
              </a:pPr>
              <a:r>
                <a:rPr kumimoji="0" lang="en-US" sz="1200" b="0" i="0" u="none" strike="noStrike" kern="0" cap="none" spc="0" normalizeH="0" baseline="0" noProof="0">
                  <a:ln>
                    <a:noFill/>
                  </a:ln>
                  <a:solidFill>
                    <a:schemeClr val="tx1"/>
                  </a:solidFill>
                  <a:effectLst/>
                  <a:uLnTx/>
                  <a:uFillTx/>
                  <a:latin typeface="BentonSans Light" panose="02000503000000020004" pitchFamily="2" charset="0"/>
                </a:rPr>
                <a:t>HOW BUSINESSES RUN</a:t>
              </a:r>
            </a:p>
          </p:txBody>
        </p:sp>
      </p:grpSp>
    </p:spTree>
    <p:extLst>
      <p:ext uri="{BB962C8B-B14F-4D97-AF65-F5344CB8AC3E}">
        <p14:creationId xmlns:p14="http://schemas.microsoft.com/office/powerpoint/2010/main" val="16587866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81">
          <p15:clr>
            <a:srgbClr val="FBAE40"/>
          </p15:clr>
        </p15:guide>
        <p15:guide id="7" orient="horz" pos="3232">
          <p15:clr>
            <a:srgbClr val="FBAE40"/>
          </p15:clr>
        </p15:guide>
        <p15:guide id="8" orient="horz" pos="350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A20518-F73B-41B1-A149-48661724AF06}"/>
              </a:ext>
            </a:extLst>
          </p:cNvPr>
          <p:cNvGraphicFramePr>
            <a:graphicFrameLocks noChangeAspect="1"/>
          </p:cNvGraphicFramePr>
          <p:nvPr userDrawn="1">
            <p:custDataLst>
              <p:tags r:id="rId2"/>
            </p:custDataLst>
            <p:extLst>
              <p:ext uri="{D42A27DB-BD31-4B8C-83A1-F6EECF244321}">
                <p14:modId xmlns:p14="http://schemas.microsoft.com/office/powerpoint/2010/main" val="33095337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4FA20518-F73B-41B1-A149-48661724AF06}"/>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7C73-6C2C-4373-AF00-30DFAA9A6E4E}"/>
              </a:ext>
            </a:extLst>
          </p:cNvPr>
          <p:cNvSpPr/>
          <p:nvPr userDrawn="1">
            <p:custDataLst>
              <p:tags r:id="rId3"/>
            </p:custDataLst>
          </p:nvPr>
        </p:nvSpPr>
        <p:spPr bwMode="gray">
          <a:xfrm>
            <a:off x="0" y="0"/>
            <a:ext cx="158709"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marL="0" marR="0" lvl="0" indent="0" algn="ctr" defTabSz="914126" eaLnBrk="1" fontAlgn="base" latinLnBrk="0" hangingPunct="1">
              <a:lnSpc>
                <a:spcPct val="100000"/>
              </a:lnSpc>
              <a:spcBef>
                <a:spcPct val="50000"/>
              </a:spcBef>
              <a:spcAft>
                <a:spcPct val="0"/>
              </a:spcAft>
              <a:buClr>
                <a:srgbClr val="F0AB00"/>
              </a:buClr>
              <a:buSzPct val="80000"/>
              <a:tabLst/>
            </a:pPr>
            <a:endParaRPr kumimoji="0" lang="en-US" sz="3599"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pic>
        <p:nvPicPr>
          <p:cNvPr id="15" name="Grafik 2">
            <a:extLst>
              <a:ext uri="{FF2B5EF4-FFF2-40B4-BE49-F238E27FC236}">
                <a16:creationId xmlns:a16="http://schemas.microsoft.com/office/drawing/2014/main" id="{57C76091-041D-43BA-A6D9-945E232A8F77}"/>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88826" cy="6858000"/>
          </a:xfrm>
          <a:prstGeom prst="rect">
            <a:avLst/>
          </a:prstGeom>
        </p:spPr>
      </p:pic>
      <p:sp>
        <p:nvSpPr>
          <p:cNvPr id="7" name="Rectangle 4">
            <a:extLst>
              <a:ext uri="{FF2B5EF4-FFF2-40B4-BE49-F238E27FC236}">
                <a16:creationId xmlns:a16="http://schemas.microsoft.com/office/drawing/2014/main" id="{3DB1EFDA-259E-4D2E-A57C-D85830A8F241}"/>
              </a:ext>
            </a:extLst>
          </p:cNvPr>
          <p:cNvSpPr/>
          <p:nvPr userDrawn="1"/>
        </p:nvSpPr>
        <p:spPr>
          <a:xfrm>
            <a:off x="0" y="0"/>
            <a:ext cx="12188826" cy="6858000"/>
          </a:xfrm>
          <a:prstGeom prst="rect">
            <a:avLst/>
          </a:prstGeom>
          <a:gradFill>
            <a:gsLst>
              <a:gs pos="10000">
                <a:schemeClr val="bg1"/>
              </a:gs>
              <a:gs pos="100000">
                <a:schemeClr val="bg1">
                  <a:alpha val="51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p>
        </p:txBody>
      </p:sp>
      <p:sp>
        <p:nvSpPr>
          <p:cNvPr id="6" name="Speaker"/>
          <p:cNvSpPr>
            <a:spLocks noGrp="1"/>
          </p:cNvSpPr>
          <p:nvPr userDrawn="1">
            <p:ph type="subTitle" idx="1" hasCustomPrompt="1"/>
          </p:nvPr>
        </p:nvSpPr>
        <p:spPr bwMode="black">
          <a:xfrm>
            <a:off x="287924" y="4268504"/>
            <a:ext cx="11624973" cy="430887"/>
          </a:xfrm>
        </p:spPr>
        <p:txBody>
          <a:bodyPr wrap="square" anchor="t" anchorCtr="0">
            <a:noAutofit/>
          </a:bodyPr>
          <a:lstStyle>
            <a:lvl1pPr marL="0" marR="0" indent="0" algn="l" defTabSz="914126" rtl="0" eaLnBrk="1" fontAlgn="auto" latinLnBrk="0" hangingPunct="1">
              <a:lnSpc>
                <a:spcPct val="100000"/>
              </a:lnSpc>
              <a:spcBef>
                <a:spcPts val="0"/>
              </a:spcBef>
              <a:spcAft>
                <a:spcPts val="0"/>
              </a:spcAft>
              <a:buClr>
                <a:srgbClr val="FFFFFF"/>
              </a:buClr>
              <a:buSzTx/>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pPr marL="0" marR="0" lvl="0" indent="0" algn="l" defTabSz="914126" rtl="0" eaLnBrk="1" fontAlgn="auto" latinLnBrk="0" hangingPunct="1">
              <a:lnSpc>
                <a:spcPct val="100000"/>
              </a:lnSpc>
              <a:spcBef>
                <a:spcPts val="0"/>
              </a:spcBef>
              <a:spcAft>
                <a:spcPts val="0"/>
              </a:spcAft>
              <a:buClr>
                <a:srgbClr val="FFFFFF"/>
              </a:buClr>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Arial"/>
              </a:rPr>
              <a:t>Board Member: 	&lt;NAME&gt;</a:t>
            </a:r>
            <a:endParaRPr kumimoji="0" lang="en-US" sz="1400" b="0" i="0" u="none" strike="noStrike" kern="1200" cap="none" spc="0" normalizeH="0" baseline="0" noProof="0">
              <a:ln>
                <a:noFill/>
              </a:ln>
              <a:solidFill>
                <a:srgbClr val="FFFFFF"/>
              </a:solidFill>
              <a:effectLst/>
              <a:uLnTx/>
              <a:uFillTx/>
              <a:latin typeface="+mn-lt"/>
              <a:ea typeface="+mn-ea"/>
              <a:cs typeface="+mn-cs"/>
            </a:endParaRPr>
          </a:p>
          <a:p>
            <a:pPr marL="0" marR="0" lvl="0" indent="0" algn="l" defTabSz="914126" rtl="0" eaLnBrk="1" fontAlgn="auto" latinLnBrk="0" hangingPunct="1">
              <a:lnSpc>
                <a:spcPct val="100000"/>
              </a:lnSpc>
              <a:spcBef>
                <a:spcPts val="0"/>
              </a:spcBef>
              <a:spcAft>
                <a:spcPts val="0"/>
              </a:spcAft>
              <a:buClr>
                <a:srgbClr val="FFFFFF"/>
              </a:buClr>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Arial"/>
              </a:rPr>
              <a:t>Lead: 		&lt;NAME&gt;</a:t>
            </a:r>
          </a:p>
          <a:p>
            <a:pPr marL="0" marR="0" lvl="0" indent="0" algn="l" defTabSz="914126" rtl="0" eaLnBrk="1" fontAlgn="auto" latinLnBrk="0" hangingPunct="1">
              <a:lnSpc>
                <a:spcPct val="100000"/>
              </a:lnSpc>
              <a:spcBef>
                <a:spcPts val="0"/>
              </a:spcBef>
              <a:spcAft>
                <a:spcPts val="0"/>
              </a:spcAft>
              <a:buClr>
                <a:srgbClr val="FFFFFF"/>
              </a:buClr>
              <a:buSzTx/>
              <a:buFontTx/>
              <a:buNone/>
              <a:tabLst/>
              <a:defRPr/>
            </a:pPr>
            <a:r>
              <a:rPr kumimoji="0" lang="en-US" sz="1100" b="0" i="0" u="none" strike="noStrike" kern="1200" cap="none" spc="0" normalizeH="0" baseline="0" noProof="0">
                <a:ln>
                  <a:noFill/>
                </a:ln>
                <a:solidFill>
                  <a:srgbClr val="FFFFFF"/>
                </a:solidFill>
                <a:effectLst/>
                <a:uLnTx/>
                <a:uFillTx/>
                <a:latin typeface="+mn-lt"/>
                <a:ea typeface="+mn-ea"/>
                <a:cs typeface="Arial"/>
              </a:rPr>
              <a:t>Date:		&lt;DATE&gt;</a:t>
            </a:r>
            <a:endParaRPr kumimoji="0" lang="en-US" sz="1400" b="0" i="0" u="none" strike="noStrike" kern="1200" cap="none" spc="0" normalizeH="0" baseline="0" noProof="0">
              <a:ln>
                <a:noFill/>
              </a:ln>
              <a:solidFill>
                <a:srgbClr val="FFFFFF"/>
              </a:solidFill>
              <a:effectLst/>
              <a:uLnTx/>
              <a:uFillTx/>
              <a:latin typeface="+mn-lt"/>
              <a:ea typeface="+mn-ea"/>
              <a:cs typeface="Arial"/>
            </a:endParaRPr>
          </a:p>
        </p:txBody>
      </p:sp>
      <p:sp>
        <p:nvSpPr>
          <p:cNvPr id="4" name="Title 3"/>
          <p:cNvSpPr>
            <a:spLocks noGrp="1"/>
          </p:cNvSpPr>
          <p:nvPr>
            <p:ph type="title" hasCustomPrompt="1"/>
          </p:nvPr>
        </p:nvSpPr>
        <p:spPr>
          <a:xfrm>
            <a:off x="287925" y="2706317"/>
            <a:ext cx="11624973"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Winning Plan</a:t>
            </a:r>
            <a:br>
              <a:rPr lang="en-US" sz="3599"/>
            </a:br>
            <a:r>
              <a:rPr lang="en-US" sz="3599"/>
              <a:t>&lt;Portfolio Category&gt;</a:t>
            </a:r>
            <a:endParaRPr lang="de-DE" sz="3599" kern="0" err="1">
              <a:ea typeface="Arial Unicode MS" pitchFamily="34" charset="-128"/>
              <a:cs typeface="Arial Unicode MS" pitchFamily="34" charset="-128"/>
            </a:endParaRPr>
          </a:p>
        </p:txBody>
      </p:sp>
      <p:grpSp>
        <p:nvGrpSpPr>
          <p:cNvPr id="10" name="Gruppieren 8">
            <a:extLst>
              <a:ext uri="{FF2B5EF4-FFF2-40B4-BE49-F238E27FC236}">
                <a16:creationId xmlns:a16="http://schemas.microsoft.com/office/drawing/2014/main" id="{804D0A6D-4426-4BFD-A37F-4C9DD2892B2E}"/>
              </a:ext>
            </a:extLst>
          </p:cNvPr>
          <p:cNvGrpSpPr/>
          <p:nvPr userDrawn="1"/>
        </p:nvGrpSpPr>
        <p:grpSpPr>
          <a:xfrm>
            <a:off x="8636234" y="5863424"/>
            <a:ext cx="3264667" cy="638568"/>
            <a:chOff x="12786362" y="5957280"/>
            <a:chExt cx="3265517" cy="638568"/>
          </a:xfrm>
        </p:grpSpPr>
        <p:pic>
          <p:nvPicPr>
            <p:cNvPr id="12" name="Grafik 6">
              <a:extLst>
                <a:ext uri="{FF2B5EF4-FFF2-40B4-BE49-F238E27FC236}">
                  <a16:creationId xmlns:a16="http://schemas.microsoft.com/office/drawing/2014/main" id="{915D62D9-7550-45B4-8447-6C8BC8BED52E}"/>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1"/>
            <a:stretch/>
          </p:blipFill>
          <p:spPr>
            <a:xfrm>
              <a:off x="14772640" y="6014847"/>
              <a:ext cx="1279239" cy="581001"/>
            </a:xfrm>
            <a:prstGeom prst="rect">
              <a:avLst/>
            </a:prstGeom>
          </p:spPr>
        </p:pic>
        <p:sp>
          <p:nvSpPr>
            <p:cNvPr id="13" name="Textfeld 10">
              <a:extLst>
                <a:ext uri="{FF2B5EF4-FFF2-40B4-BE49-F238E27FC236}">
                  <a16:creationId xmlns:a16="http://schemas.microsoft.com/office/drawing/2014/main" id="{2CA88DD2-045D-4BA0-9936-FF9F12721120}"/>
                </a:ext>
              </a:extLst>
            </p:cNvPr>
            <p:cNvSpPr txBox="1"/>
            <p:nvPr userDrawn="1"/>
          </p:nvSpPr>
          <p:spPr bwMode="black">
            <a:xfrm>
              <a:off x="12791442" y="5957280"/>
              <a:ext cx="1971038" cy="430887"/>
            </a:xfrm>
            <a:prstGeom prst="rect">
              <a:avLst/>
            </a:prstGeom>
            <a:noFill/>
          </p:spPr>
          <p:txBody>
            <a:bodyPr wrap="square" lIns="0" tIns="0" rIns="0" bIns="0" rtlCol="0">
              <a:spAutoFit/>
            </a:bodyPr>
            <a:lstStyle/>
            <a:p>
              <a:pPr marL="0" marR="0" indent="0" algn="l" defTabSz="674642" eaLnBrk="1" fontAlgn="auto" latinLnBrk="0" hangingPunct="1">
                <a:lnSpc>
                  <a:spcPct val="100000"/>
                </a:lnSpc>
                <a:spcBef>
                  <a:spcPts val="0"/>
                </a:spcBef>
                <a:spcAft>
                  <a:spcPts val="0"/>
                </a:spcAft>
                <a:buClr>
                  <a:prstClr val="white"/>
                </a:buClr>
                <a:buSzTx/>
                <a:buFontTx/>
                <a:buNone/>
                <a:tabLst/>
              </a:pPr>
              <a:r>
                <a:rPr kumimoji="0" lang="en-US" sz="2799" b="1" i="0" u="none" strike="noStrike" kern="100" cap="none" spc="0" normalizeH="0" noProof="0">
                  <a:ln>
                    <a:noFill/>
                  </a:ln>
                  <a:solidFill>
                    <a:schemeClr val="tx1"/>
                  </a:solidFill>
                  <a:effectLst/>
                  <a:uLnTx/>
                  <a:uFillTx/>
                  <a:latin typeface="BentonSans Bold" panose="02000803000000020004" pitchFamily="2" charset="0"/>
                </a:rPr>
                <a:t>REINVENT</a:t>
              </a:r>
            </a:p>
          </p:txBody>
        </p:sp>
        <p:sp>
          <p:nvSpPr>
            <p:cNvPr id="14" name="Textfeld 11">
              <a:extLst>
                <a:ext uri="{FF2B5EF4-FFF2-40B4-BE49-F238E27FC236}">
                  <a16:creationId xmlns:a16="http://schemas.microsoft.com/office/drawing/2014/main" id="{574048CC-4C45-418F-A858-3AA531E62F99}"/>
                </a:ext>
              </a:extLst>
            </p:cNvPr>
            <p:cNvSpPr txBox="1"/>
            <p:nvPr userDrawn="1"/>
          </p:nvSpPr>
          <p:spPr bwMode="black">
            <a:xfrm>
              <a:off x="12786362" y="6365016"/>
              <a:ext cx="1886672" cy="184666"/>
            </a:xfrm>
            <a:prstGeom prst="rect">
              <a:avLst/>
            </a:prstGeom>
            <a:noFill/>
          </p:spPr>
          <p:txBody>
            <a:bodyPr wrap="square" lIns="0" tIns="0" rIns="0" bIns="0" rtlCol="0">
              <a:spAutoFit/>
            </a:bodyPr>
            <a:lstStyle/>
            <a:p>
              <a:pPr marL="0" marR="0" indent="0" algn="l" defTabSz="674642" eaLnBrk="1" fontAlgn="auto" latinLnBrk="0" hangingPunct="1">
                <a:lnSpc>
                  <a:spcPct val="100000"/>
                </a:lnSpc>
                <a:spcBef>
                  <a:spcPts val="0"/>
                </a:spcBef>
                <a:spcAft>
                  <a:spcPts val="0"/>
                </a:spcAft>
                <a:buClr>
                  <a:prstClr val="white"/>
                </a:buClr>
                <a:buSzTx/>
                <a:buFontTx/>
                <a:buNone/>
                <a:tabLst/>
              </a:pPr>
              <a:r>
                <a:rPr kumimoji="0" lang="en-US" sz="1200" b="0" i="0" u="none" strike="noStrike" kern="0" cap="none" spc="0" normalizeH="0" baseline="0" noProof="0">
                  <a:ln>
                    <a:noFill/>
                  </a:ln>
                  <a:solidFill>
                    <a:schemeClr val="tx1"/>
                  </a:solidFill>
                  <a:effectLst/>
                  <a:uLnTx/>
                  <a:uFillTx/>
                  <a:latin typeface="BentonSans Light" panose="02000503000000020004" pitchFamily="2" charset="0"/>
                </a:rPr>
                <a:t>HOW BUSINESSES RUN</a:t>
              </a:r>
            </a:p>
          </p:txBody>
        </p:sp>
      </p:grpSp>
    </p:spTree>
    <p:extLst>
      <p:ext uri="{BB962C8B-B14F-4D97-AF65-F5344CB8AC3E}">
        <p14:creationId xmlns:p14="http://schemas.microsoft.com/office/powerpoint/2010/main" val="37709743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7">
          <p15:clr>
            <a:srgbClr val="FBAE40"/>
          </p15:clr>
        </p15:guide>
        <p15:guide id="7" orient="horz" pos="41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p>
        </p:txBody>
      </p:sp>
      <p:sp>
        <p:nvSpPr>
          <p:cNvPr id="6" name="Speaker"/>
          <p:cNvSpPr>
            <a:spLocks noGrp="1"/>
          </p:cNvSpPr>
          <p:nvPr userDrawn="1">
            <p:ph type="subTitle" idx="1" hasCustomPrompt="1"/>
          </p:nvPr>
        </p:nvSpPr>
        <p:spPr bwMode="black">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7"/>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spTree>
    <p:extLst>
      <p:ext uri="{BB962C8B-B14F-4D97-AF65-F5344CB8AC3E}">
        <p14:creationId xmlns:p14="http://schemas.microsoft.com/office/powerpoint/2010/main" val="21208333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95909188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291B59-CE9A-4044-8C66-194D85CF90DD}"/>
              </a:ext>
            </a:extLst>
          </p:cNvPr>
          <p:cNvGraphicFramePr>
            <a:graphicFrameLocks noChangeAspect="1"/>
          </p:cNvGraphicFramePr>
          <p:nvPr userDrawn="1">
            <p:custDataLst>
              <p:tags r:id="rId2"/>
            </p:custDataLst>
            <p:extLst>
              <p:ext uri="{D42A27DB-BD31-4B8C-83A1-F6EECF244321}">
                <p14:modId xmlns:p14="http://schemas.microsoft.com/office/powerpoint/2010/main" val="358038923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8E291B59-CE9A-4044-8C66-194D85CF90DD}"/>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82DF5F-BBF1-4B91-839B-2BE0C16680BF}"/>
              </a:ext>
            </a:extLst>
          </p:cNvPr>
          <p:cNvSpPr/>
          <p:nvPr userDrawn="1">
            <p:custDataLst>
              <p:tags r:id="rId3"/>
            </p:custDataLst>
          </p:nvPr>
        </p:nvSpPr>
        <p:spPr bwMode="gray">
          <a:xfrm>
            <a:off x="0" y="0"/>
            <a:ext cx="158709"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marL="0" marR="0" lvl="0" indent="0" algn="ctr" defTabSz="914126" eaLnBrk="1" fontAlgn="base" latinLnBrk="0" hangingPunct="1">
              <a:lnSpc>
                <a:spcPct val="100000"/>
              </a:lnSpc>
              <a:spcBef>
                <a:spcPct val="50000"/>
              </a:spcBef>
              <a:spcAft>
                <a:spcPct val="0"/>
              </a:spcAft>
              <a:buClr>
                <a:srgbClr val="F0AB00"/>
              </a:buClr>
              <a:buSzPct val="80000"/>
              <a:tabLst/>
            </a:pPr>
            <a:endParaRPr kumimoji="0" lang="en-US" sz="4399"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pic>
        <p:nvPicPr>
          <p:cNvPr id="3" name="Grafik 2">
            <a:extLst>
              <a:ext uri="{FF2B5EF4-FFF2-40B4-BE49-F238E27FC236}">
                <a16:creationId xmlns:a16="http://schemas.microsoft.com/office/drawing/2014/main" id="{D7BD69F1-EB7D-447C-AC18-39E03C4D19DD}"/>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0"/>
            <a:ext cx="12188826" cy="6858000"/>
          </a:xfrm>
          <a:prstGeom prst="rect">
            <a:avLst/>
          </a:prstGeom>
        </p:spPr>
      </p:pic>
      <p:sp>
        <p:nvSpPr>
          <p:cNvPr id="4" name="Rectangle 4">
            <a:extLst>
              <a:ext uri="{FF2B5EF4-FFF2-40B4-BE49-F238E27FC236}">
                <a16:creationId xmlns:a16="http://schemas.microsoft.com/office/drawing/2014/main" id="{9E70F369-F73A-42F0-BF0C-5C68F799BA9F}"/>
              </a:ext>
            </a:extLst>
          </p:cNvPr>
          <p:cNvSpPr/>
          <p:nvPr userDrawn="1"/>
        </p:nvSpPr>
        <p:spPr>
          <a:xfrm>
            <a:off x="0" y="0"/>
            <a:ext cx="12188826" cy="6858000"/>
          </a:xfrm>
          <a:prstGeom prst="rect">
            <a:avLst/>
          </a:prstGeom>
          <a:gradFill>
            <a:gsLst>
              <a:gs pos="10000">
                <a:schemeClr val="bg1"/>
              </a:gs>
              <a:gs pos="100000">
                <a:schemeClr val="bg1">
                  <a:alpha val="51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85095329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7166661"/>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4"/>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6665" y="6217668"/>
            <a:ext cx="1963124" cy="360000"/>
          </a:xfrm>
          <a:prstGeom prst="rect">
            <a:avLst/>
          </a:prstGeom>
        </p:spPr>
      </p:pic>
    </p:spTree>
    <p:extLst>
      <p:ext uri="{BB962C8B-B14F-4D97-AF65-F5344CB8AC3E}">
        <p14:creationId xmlns:p14="http://schemas.microsoft.com/office/powerpoint/2010/main" val="26295509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46321453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11853072"/>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37071241"/>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515543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642736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7461190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9642147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86951972"/>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672814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0"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3558477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44098767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566985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9815897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91931504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3563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8">
                <a:solidFill>
                  <a:schemeClr val="accent1"/>
                </a:solidFill>
                <a:latin typeface="+mj-lt"/>
              </a:defRPr>
            </a:lvl1pPr>
          </a:lstStyle>
          <a:p>
            <a:r>
              <a:rPr lang="en-US"/>
              <a:t>Thank you.</a:t>
            </a:r>
            <a:endParaRPr lang="de-DE"/>
          </a:p>
        </p:txBody>
      </p:sp>
      <p:pic>
        <p:nvPicPr>
          <p:cNvPr id="5"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7" y="5994000"/>
            <a:ext cx="1963125" cy="360000"/>
          </a:xfrm>
          <a:prstGeom prst="rect">
            <a:avLst/>
          </a:prstGeom>
        </p:spPr>
      </p:pic>
    </p:spTree>
    <p:extLst>
      <p:ext uri="{BB962C8B-B14F-4D97-AF65-F5344CB8AC3E}">
        <p14:creationId xmlns:p14="http://schemas.microsoft.com/office/powerpoint/2010/main" val="210529559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25" name="Copyright information English"/>
          <p:cNvSpPr txBox="1"/>
          <p:nvPr userDrawn="1"/>
        </p:nvSpPr>
        <p:spPr bwMode="black">
          <a:xfrm>
            <a:off x="50386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1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26"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a:hlinkClick r:id="rId5"/>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56900" y="1749960"/>
            <a:ext cx="361715" cy="361809"/>
          </a:xfrm>
          <a:prstGeom prst="rect">
            <a:avLst/>
          </a:prstGeom>
        </p:spPr>
      </p:pic>
      <p:pic>
        <p:nvPicPr>
          <p:cNvPr id="14" name="YouTube icon with link">
            <a:hlinkClick r:id="rId7"/>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666517" y="1749063"/>
            <a:ext cx="363505" cy="363600"/>
          </a:xfrm>
          <a:prstGeom prst="rect">
            <a:avLst/>
          </a:prstGeom>
        </p:spPr>
      </p:pic>
      <p:pic>
        <p:nvPicPr>
          <p:cNvPr id="15" name="Twitter icon with link">
            <a:hlinkClick r:id="rId9" tooltip="https://twitter.com/sap"/>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77926" y="1749960"/>
            <a:ext cx="361715" cy="361809"/>
          </a:xfrm>
          <a:prstGeom prst="rect">
            <a:avLst/>
          </a:prstGeom>
        </p:spPr>
      </p:pic>
      <p:pic>
        <p:nvPicPr>
          <p:cNvPr id="17"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rcRect/>
          <a:stretch/>
        </p:blipFill>
        <p:spPr>
          <a:xfrm>
            <a:off x="487543" y="1749063"/>
            <a:ext cx="363505" cy="363600"/>
          </a:xfrm>
          <a:prstGeom prst="rect">
            <a:avLst/>
          </a:prstGeom>
        </p:spPr>
      </p:pic>
      <p:sp>
        <p:nvSpPr>
          <p:cNvPr id="32" name="Follow all of SAP"/>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7666496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6" name="Copyright information">
            <a:hlinkClick r:id="rId2" tooltip="www.sap.com/contactsap"/>
          </p:cNvPr>
          <p:cNvSpPr txBox="1"/>
          <p:nvPr userDrawn="1"/>
        </p:nvSpPr>
        <p:spPr bwMode="black">
          <a:xfrm>
            <a:off x="503107" y="2461399"/>
            <a:ext cx="2579968"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26" name="Copyright information-German"/>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1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sp>
        <p:nvSpPr>
          <p:cNvPr id="33"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85F89319-632F-0948-93D3-22748C7AEB2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56900" y="1749960"/>
            <a:ext cx="361715" cy="361809"/>
          </a:xfrm>
          <a:prstGeom prst="rect">
            <a:avLst/>
          </a:prstGeom>
        </p:spPr>
      </p:pic>
      <p:pic>
        <p:nvPicPr>
          <p:cNvPr id="11" name="YouTube icon with link">
            <a:hlinkClick r:id="rId7"/>
            <a:extLst>
              <a:ext uri="{FF2B5EF4-FFF2-40B4-BE49-F238E27FC236}">
                <a16:creationId xmlns:a16="http://schemas.microsoft.com/office/drawing/2014/main" id="{F652101B-0C93-7042-8B1B-BC53F9B8FD49}"/>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666517" y="1749063"/>
            <a:ext cx="363505" cy="363600"/>
          </a:xfrm>
          <a:prstGeom prst="rect">
            <a:avLst/>
          </a:prstGeom>
        </p:spPr>
      </p:pic>
      <p:pic>
        <p:nvPicPr>
          <p:cNvPr id="18" name="Twitter icon with link">
            <a:hlinkClick r:id="rId9" tooltip="https://twitter.com/sap"/>
            <a:extLst>
              <a:ext uri="{FF2B5EF4-FFF2-40B4-BE49-F238E27FC236}">
                <a16:creationId xmlns:a16="http://schemas.microsoft.com/office/drawing/2014/main" id="{C4D0E2F6-D2A3-A647-9191-866BE1AC5745}"/>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77926" y="1749960"/>
            <a:ext cx="361715" cy="361809"/>
          </a:xfrm>
          <a:prstGeom prst="rect">
            <a:avLst/>
          </a:prstGeom>
        </p:spPr>
      </p:pic>
      <p:pic>
        <p:nvPicPr>
          <p:cNvPr id="19" name="Facebook icon with link">
            <a:hlinkClick r:id="rId11"/>
            <a:extLst>
              <a:ext uri="{FF2B5EF4-FFF2-40B4-BE49-F238E27FC236}">
                <a16:creationId xmlns:a16="http://schemas.microsoft.com/office/drawing/2014/main" id="{18F69508-4786-4A46-BBD7-D0E8C1154C00}"/>
              </a:ext>
            </a:extLst>
          </p:cNvPr>
          <p:cNvPicPr>
            <a:picLocks noChangeAspect="1"/>
          </p:cNvPicPr>
          <p:nvPr userDrawn="1"/>
        </p:nvPicPr>
        <p:blipFill>
          <a:blip r:embed="rId12" cstate="screen">
            <a:extLst>
              <a:ext uri="{28A0092B-C50C-407E-A947-70E740481C1C}">
                <a14:useLocalDpi xmlns:a14="http://schemas.microsoft.com/office/drawing/2010/main"/>
              </a:ext>
            </a:extLst>
          </a:blip>
          <a:srcRect/>
          <a:stretch/>
        </p:blipFill>
        <p:spPr>
          <a:xfrm>
            <a:off x="487543" y="1749063"/>
            <a:ext cx="363505" cy="363600"/>
          </a:xfrm>
          <a:prstGeom prst="rect">
            <a:avLst/>
          </a:prstGeom>
        </p:spPr>
      </p:pic>
    </p:spTree>
    <p:extLst>
      <p:ext uri="{BB962C8B-B14F-4D97-AF65-F5344CB8AC3E}">
        <p14:creationId xmlns:p14="http://schemas.microsoft.com/office/powerpoint/2010/main" val="8075888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External Perspective_Key Areas">
    <p:bg>
      <p:bgRef idx="1001">
        <a:schemeClr val="bg1"/>
      </p:bgRef>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CB3E701A-4006-414B-B2CE-E89408C88F4C}"/>
              </a:ext>
            </a:extLst>
          </p:cNvPr>
          <p:cNvSpPr txBox="1">
            <a:spLocks/>
          </p:cNvSpPr>
          <p:nvPr userDrawn="1"/>
        </p:nvSpPr>
        <p:spPr>
          <a:xfrm>
            <a:off x="9008162" y="6386169"/>
            <a:ext cx="2743200" cy="365125"/>
          </a:xfrm>
          <a:prstGeom prst="rect">
            <a:avLst/>
          </a:prstGeom>
        </p:spPr>
        <p:txBody>
          <a:bodyPr/>
          <a:lstStyle>
            <a:defPPr>
              <a:defRPr lang="en-DE"/>
            </a:defPPr>
            <a:lvl1pPr marL="0" algn="r" defTabSz="914400" rtl="0" eaLnBrk="1" latinLnBrk="0" hangingPunct="1">
              <a:defRPr sz="560" b="0" i="0" kern="1200">
                <a:solidFill>
                  <a:schemeClr val="bg1">
                    <a:lumMod val="85000"/>
                  </a:schemeClr>
                </a:solidFill>
                <a:latin typeface="BentonSans Book" panose="02000503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fld id="{EB262865-C525-4E46-A823-EDC5A5F27A1E}" type="slidenum">
              <a:rPr kumimoji="0" lang="en-DE" sz="900" b="0"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DE" sz="56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9" name="Text Placeholder 4">
            <a:extLst>
              <a:ext uri="{FF2B5EF4-FFF2-40B4-BE49-F238E27FC236}">
                <a16:creationId xmlns:a16="http://schemas.microsoft.com/office/drawing/2014/main" id="{1F6153E4-4BFD-9242-9D46-C5075EFED367}"/>
              </a:ext>
            </a:extLst>
          </p:cNvPr>
          <p:cNvSpPr>
            <a:spLocks noGrp="1"/>
          </p:cNvSpPr>
          <p:nvPr>
            <p:ph type="body" sz="quarter" idx="11" hasCustomPrompt="1"/>
          </p:nvPr>
        </p:nvSpPr>
        <p:spPr>
          <a:xfrm>
            <a:off x="421864" y="908193"/>
            <a:ext cx="9937478" cy="457891"/>
          </a:xfrm>
          <a:prstGeom prst="rect">
            <a:avLst/>
          </a:prstGeom>
        </p:spPr>
        <p:txBody>
          <a:bodyPr/>
          <a:lstStyle>
            <a:lvl1pPr marL="0" marR="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sz="2199" b="0" i="0">
                <a:solidFill>
                  <a:schemeClr val="tx1"/>
                </a:solidFill>
                <a:latin typeface="Arial" panose="020B0604020202020204" pitchFamily="34" charset="0"/>
                <a:cs typeface="Arial" panose="020B0604020202020204" pitchFamily="34" charset="0"/>
              </a:defRPr>
            </a:lvl1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Our S/4Hana Offering Experienced Significant Growth across all Key Areas</a:t>
            </a:r>
          </a:p>
          <a:p>
            <a:pPr lvl="0"/>
            <a:endParaRPr lang="en-DE"/>
          </a:p>
        </p:txBody>
      </p:sp>
      <p:sp>
        <p:nvSpPr>
          <p:cNvPr id="6" name="Copyright">
            <a:extLst>
              <a:ext uri="{FF2B5EF4-FFF2-40B4-BE49-F238E27FC236}">
                <a16:creationId xmlns:a16="http://schemas.microsoft.com/office/drawing/2014/main" id="{DE38ADEA-9584-B34D-9EE4-43B890CFDFB2}"/>
              </a:ext>
            </a:extLst>
          </p:cNvPr>
          <p:cNvSpPr txBox="1"/>
          <p:nvPr userDrawn="1"/>
        </p:nvSpPr>
        <p:spPr bwMode="black">
          <a:xfrm>
            <a:off x="541025" y="6464387"/>
            <a:ext cx="3268974" cy="149272"/>
          </a:xfrm>
          <a:prstGeom prst="rect">
            <a:avLst/>
          </a:prstGeom>
          <a:noFill/>
        </p:spPr>
        <p:txBody>
          <a:bodyPr wrap="square" lIns="0" tIns="0" rIns="0" bIns="0" rtlCol="0">
            <a:spAutoFit/>
          </a:bodyPr>
          <a:lstStyle/>
          <a:p>
            <a:pPr marL="0" marR="0" lvl="0" indent="0" defTabSz="674642" eaLnBrk="1" fontAlgn="auto" latinLnBrk="0" hangingPunct="1">
              <a:lnSpc>
                <a:spcPct val="100000"/>
              </a:lnSpc>
              <a:spcBef>
                <a:spcPts val="0"/>
              </a:spcBef>
              <a:spcAft>
                <a:spcPts val="0"/>
              </a:spcAft>
              <a:buClr>
                <a:prstClr val="white"/>
              </a:buClr>
              <a:buSzTx/>
              <a:buFontTx/>
              <a:buNone/>
              <a:tabLst/>
              <a:defRPr/>
            </a:pPr>
            <a:r>
              <a:rPr kumimoji="0" lang="en-US" sz="600" b="0" i="0" u="none" strike="noStrike" kern="0" cap="none" spc="0" normalizeH="0" baseline="0" noProof="0">
                <a:ln>
                  <a:noFill/>
                </a:ln>
                <a:solidFill>
                  <a:schemeClr val="tx1"/>
                </a:solidFill>
                <a:effectLst/>
                <a:uLnTx/>
                <a:uFillTx/>
                <a:latin typeface="Arial" panose="020B0604020202020204" pitchFamily="34" charset="0"/>
                <a:cs typeface="Arial" panose="020B0604020202020204" pitchFamily="34" charset="0"/>
              </a:rPr>
              <a:t>©  2020 SAP SE or an SAP affiliate company. All rights reserved.  </a:t>
            </a:r>
            <a:r>
              <a:rPr kumimoji="0" lang="en-US" sz="600" b="0" i="0" u="none" strike="noStrike" kern="0" cap="none" spc="0" normalizeH="0" baseline="0" noProof="0">
                <a:ln>
                  <a:noFill/>
                </a:ln>
                <a:solidFill>
                  <a:schemeClr val="tx1"/>
                </a:solidFill>
                <a:effectLst/>
                <a:uLnTx/>
                <a:uFillTx/>
                <a:latin typeface="Arial" panose="020B0604020202020204" pitchFamily="34" charset="0"/>
                <a:ea typeface="Arial Unicode MS"/>
                <a:cs typeface="Arial" panose="020B0604020202020204" pitchFamily="34" charset="0"/>
                <a:sym typeface="Arial"/>
              </a:rPr>
              <a:t>ǀ   CONFIDENTIAL</a:t>
            </a:r>
          </a:p>
          <a:p>
            <a:pPr marL="52133" marR="0" lvl="0" indent="-52133" defTabSz="674642" eaLnBrk="1" fontAlgn="auto" latinLnBrk="0" hangingPunct="1">
              <a:lnSpc>
                <a:spcPct val="100000"/>
              </a:lnSpc>
              <a:spcBef>
                <a:spcPts val="0"/>
              </a:spcBef>
              <a:spcAft>
                <a:spcPts val="0"/>
              </a:spcAft>
              <a:buClr>
                <a:prstClr val="white"/>
              </a:buClr>
              <a:buSzTx/>
              <a:buFont typeface="Arial" pitchFamily="34" charset="0"/>
              <a:buChar char="©"/>
              <a:tabLst/>
              <a:defRPr/>
            </a:pPr>
            <a:endParaRPr kumimoji="0" lang="en-US" sz="370" b="0" i="0" u="none" strike="noStrike" kern="0" cap="none" spc="0" normalizeH="0" baseline="0" noProof="0">
              <a:ln>
                <a:noFill/>
              </a:ln>
              <a:solidFill>
                <a:schemeClr val="tx1"/>
              </a:solidFill>
              <a:effectLst/>
              <a:uLnTx/>
              <a:uFillTx/>
              <a:latin typeface="Arial" panose="020B0604020202020204" pitchFamily="34" charset="0"/>
              <a:ea typeface="Arial Unicode MS"/>
              <a:cs typeface="Arial" panose="020B0604020202020204" pitchFamily="34" charset="0"/>
              <a:sym typeface="Arial"/>
            </a:endParaRPr>
          </a:p>
        </p:txBody>
      </p:sp>
      <p:sp>
        <p:nvSpPr>
          <p:cNvPr id="11" name="Text Placeholder 3">
            <a:extLst>
              <a:ext uri="{FF2B5EF4-FFF2-40B4-BE49-F238E27FC236}">
                <a16:creationId xmlns:a16="http://schemas.microsoft.com/office/drawing/2014/main" id="{193DFD08-3451-4B6C-BDA4-71BA548EBA06}"/>
              </a:ext>
            </a:extLst>
          </p:cNvPr>
          <p:cNvSpPr txBox="1">
            <a:spLocks/>
          </p:cNvSpPr>
          <p:nvPr userDrawn="1"/>
        </p:nvSpPr>
        <p:spPr>
          <a:xfrm>
            <a:off x="421864" y="547138"/>
            <a:ext cx="3608388" cy="45789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F0AB0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2399" b="0"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External </a:t>
            </a:r>
            <a:r>
              <a:rPr kumimoji="0" lang="de-DE" sz="2399" b="0" i="0" u="none" strike="noStrike" kern="1200" cap="none" spc="0" normalizeH="0" baseline="0" noProof="0" err="1">
                <a:ln>
                  <a:noFill/>
                </a:ln>
                <a:solidFill>
                  <a:srgbClr val="F0AB00"/>
                </a:solidFill>
                <a:effectLst/>
                <a:uLnTx/>
                <a:uFillTx/>
                <a:latin typeface="Arial" panose="020B0604020202020204" pitchFamily="34" charset="0"/>
                <a:ea typeface="+mn-ea"/>
                <a:cs typeface="Arial" panose="020B0604020202020204" pitchFamily="34" charset="0"/>
              </a:rPr>
              <a:t>Perspective</a:t>
            </a:r>
            <a:endParaRPr kumimoji="0" lang="de-DE" sz="2399" b="0"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endParaRPr>
          </a:p>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de-DE" sz="2399" b="0"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98472447"/>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KPI Scorecar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48E07-A723-45AD-98DD-C705DCAA6AD0}"/>
              </a:ext>
            </a:extLst>
          </p:cNvPr>
          <p:cNvGraphicFramePr>
            <a:graphicFrameLocks noChangeAspect="1"/>
          </p:cNvGraphicFramePr>
          <p:nvPr userDrawn="1">
            <p:custDataLst>
              <p:tags r:id="rId2"/>
            </p:custDataLst>
            <p:extLst>
              <p:ext uri="{D42A27DB-BD31-4B8C-83A1-F6EECF244321}">
                <p14:modId xmlns:p14="http://schemas.microsoft.com/office/powerpoint/2010/main" val="63608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7E48E07-A723-45AD-98DD-C705DCAA6A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Text Placeholder 1">
            <a:extLst>
              <a:ext uri="{FF2B5EF4-FFF2-40B4-BE49-F238E27FC236}">
                <a16:creationId xmlns:a16="http://schemas.microsoft.com/office/drawing/2014/main" id="{50860BF5-7E3C-4BBF-A6A3-5148651C6E1B}"/>
              </a:ext>
            </a:extLst>
          </p:cNvPr>
          <p:cNvSpPr txBox="1">
            <a:spLocks/>
          </p:cNvSpPr>
          <p:nvPr userDrawn="1"/>
        </p:nvSpPr>
        <p:spPr>
          <a:xfrm>
            <a:off x="421864" y="547138"/>
            <a:ext cx="3608388" cy="45789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rgbClr val="F0AB0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99" b="0" i="0" u="none" strike="noStrike" kern="1200" cap="none" spc="0" normalizeH="0" baseline="0" noProof="0">
                <a:ln>
                  <a:noFill/>
                </a:ln>
                <a:solidFill>
                  <a:srgbClr val="F0AB00"/>
                </a:solidFill>
                <a:effectLst/>
                <a:uLnTx/>
                <a:uFillTx/>
                <a:latin typeface="Arial" panose="020B0604020202020204" pitchFamily="34" charset="0"/>
                <a:ea typeface="+mn-ea"/>
                <a:cs typeface="Arial" panose="020B0604020202020204" pitchFamily="34" charset="0"/>
              </a:rPr>
              <a:t>KPI Scorecard</a:t>
            </a:r>
          </a:p>
        </p:txBody>
      </p:sp>
      <p:sp>
        <p:nvSpPr>
          <p:cNvPr id="3" name="Text Placeholder 2">
            <a:extLst>
              <a:ext uri="{FF2B5EF4-FFF2-40B4-BE49-F238E27FC236}">
                <a16:creationId xmlns:a16="http://schemas.microsoft.com/office/drawing/2014/main" id="{52BEE8AF-2AB1-4EF2-9F03-AB7702DF00EA}"/>
              </a:ext>
            </a:extLst>
          </p:cNvPr>
          <p:cNvSpPr>
            <a:spLocks noGrp="1"/>
          </p:cNvSpPr>
          <p:nvPr>
            <p:ph type="body" sz="quarter" idx="10" hasCustomPrompt="1"/>
          </p:nvPr>
        </p:nvSpPr>
        <p:spPr>
          <a:xfrm>
            <a:off x="421865" y="907294"/>
            <a:ext cx="3358828" cy="458788"/>
          </a:xfrm>
          <a:prstGeom prst="rect">
            <a:avLst/>
          </a:prstGeom>
        </p:spPr>
        <p:txBody>
          <a:bodyPr/>
          <a:lstStyle>
            <a:lvl1pPr marL="0" indent="0">
              <a:buNone/>
              <a:defRPr sz="2199">
                <a:solidFill>
                  <a:schemeClr val="bg1"/>
                </a:solidFill>
                <a:latin typeface="Arial" panose="020B0604020202020204" pitchFamily="34" charset="0"/>
                <a:cs typeface="Arial" panose="020B0604020202020204" pitchFamily="34" charset="0"/>
              </a:defRPr>
            </a:lvl1pPr>
            <a:lvl2pPr marL="457063" indent="0">
              <a:buNone/>
              <a:defRPr/>
            </a:lvl2pPr>
            <a:lvl3pPr marL="914126" indent="0">
              <a:buNone/>
              <a:defRPr/>
            </a:lvl3pPr>
            <a:lvl4pPr marL="1371189" indent="0">
              <a:buNone/>
              <a:defRPr/>
            </a:lvl4pPr>
            <a:lvl5pPr marL="1828251" indent="0">
              <a:buNone/>
              <a:defRPr/>
            </a:lvl5pPr>
          </a:lstStyle>
          <a:p>
            <a:pPr lvl="0"/>
            <a:r>
              <a:rPr lang="en-US"/>
              <a:t>S/4HANA Overview.</a:t>
            </a:r>
          </a:p>
        </p:txBody>
      </p:sp>
      <p:sp>
        <p:nvSpPr>
          <p:cNvPr id="25" name="Slide Number Placeholder 5">
            <a:extLst>
              <a:ext uri="{FF2B5EF4-FFF2-40B4-BE49-F238E27FC236}">
                <a16:creationId xmlns:a16="http://schemas.microsoft.com/office/drawing/2014/main" id="{C2F6ECDC-9517-44BA-A54F-1E3FEA4295AB}"/>
              </a:ext>
            </a:extLst>
          </p:cNvPr>
          <p:cNvSpPr txBox="1">
            <a:spLocks/>
          </p:cNvSpPr>
          <p:nvPr userDrawn="1"/>
        </p:nvSpPr>
        <p:spPr>
          <a:xfrm>
            <a:off x="9008162" y="6386169"/>
            <a:ext cx="2743200" cy="365125"/>
          </a:xfrm>
          <a:prstGeom prst="rect">
            <a:avLst/>
          </a:prstGeom>
        </p:spPr>
        <p:txBody>
          <a:bodyPr/>
          <a:lstStyle>
            <a:defPPr>
              <a:defRPr lang="en-DE"/>
            </a:defPPr>
            <a:lvl1pPr marL="0" algn="r" defTabSz="914400" rtl="0" eaLnBrk="1" latinLnBrk="0" hangingPunct="1">
              <a:defRPr sz="560" b="0" i="0" kern="1200">
                <a:solidFill>
                  <a:schemeClr val="bg1">
                    <a:lumMod val="85000"/>
                  </a:schemeClr>
                </a:solidFill>
                <a:latin typeface="BentonSans Book" panose="02000503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fld id="{EB262865-C525-4E46-A823-EDC5A5F27A1E}" type="slidenum">
              <a:rPr kumimoji="0" lang="en-US" sz="900" b="0" i="0" u="none" strike="noStrike" kern="1200" cap="none" spc="0" normalizeH="0" baseline="0" noProof="0" smtClean="0">
                <a:ln>
                  <a:noFill/>
                </a:ln>
                <a:solidFill>
                  <a:schemeClr val="bg1">
                    <a:lumMod val="85000"/>
                  </a:schemeClr>
                </a:solidFill>
                <a:effectLst/>
                <a:uLnTx/>
                <a:uFillTx/>
                <a:latin typeface="Arial" panose="020B0604020202020204" pitchFamily="34" charset="0"/>
                <a:ea typeface="+mn-ea"/>
                <a:cs typeface="Arial" panose="020B0604020202020204" pitchFamily="34" charset="0"/>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560" b="0" i="0" u="none" strike="noStrike" kern="1200" cap="none" spc="0" normalizeH="0" baseline="0" noProof="0">
              <a:ln>
                <a:noFill/>
              </a:ln>
              <a:solidFill>
                <a:schemeClr val="bg1">
                  <a:lumMod val="85000"/>
                </a:schemeClr>
              </a:solidFill>
              <a:effectLst/>
              <a:uLnTx/>
              <a:uFillTx/>
              <a:latin typeface="Arial" panose="020B0604020202020204" pitchFamily="34" charset="0"/>
              <a:ea typeface="+mn-ea"/>
              <a:cs typeface="Arial" panose="020B0604020202020204" pitchFamily="34" charset="0"/>
            </a:endParaRPr>
          </a:p>
        </p:txBody>
      </p:sp>
      <p:sp>
        <p:nvSpPr>
          <p:cNvPr id="26" name="Copyright">
            <a:extLst>
              <a:ext uri="{FF2B5EF4-FFF2-40B4-BE49-F238E27FC236}">
                <a16:creationId xmlns:a16="http://schemas.microsoft.com/office/drawing/2014/main" id="{32F8BB11-61A2-4D14-B22D-01415C6FF454}"/>
              </a:ext>
            </a:extLst>
          </p:cNvPr>
          <p:cNvSpPr txBox="1"/>
          <p:nvPr userDrawn="1"/>
        </p:nvSpPr>
        <p:spPr bwMode="black">
          <a:xfrm>
            <a:off x="541025" y="6464387"/>
            <a:ext cx="3268974" cy="149272"/>
          </a:xfrm>
          <a:prstGeom prst="rect">
            <a:avLst/>
          </a:prstGeom>
          <a:noFill/>
        </p:spPr>
        <p:txBody>
          <a:bodyPr wrap="square" lIns="0" tIns="0" rIns="0" bIns="0" rtlCol="0">
            <a:spAutoFit/>
          </a:bodyPr>
          <a:lstStyle/>
          <a:p>
            <a:pPr marL="0" marR="0" lvl="0" indent="0" defTabSz="674642" eaLnBrk="1" fontAlgn="auto" latinLnBrk="0" hangingPunct="1">
              <a:lnSpc>
                <a:spcPct val="100000"/>
              </a:lnSpc>
              <a:spcBef>
                <a:spcPts val="0"/>
              </a:spcBef>
              <a:spcAft>
                <a:spcPts val="0"/>
              </a:spcAft>
              <a:buClr>
                <a:prstClr val="white"/>
              </a:buClr>
              <a:buSzTx/>
              <a:buFontTx/>
              <a:buNone/>
              <a:tabLst/>
              <a:defRPr/>
            </a:pPr>
            <a:r>
              <a:rPr kumimoji="0" lang="en-US" sz="600" b="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2020 SAP SE or an SAP affiliate company. All rights reserved.  </a:t>
            </a:r>
            <a:r>
              <a:rPr kumimoji="0" lang="en-US" sz="600" b="0" i="0" u="none" strike="noStrike" kern="0" cap="none" spc="0" normalizeH="0" baseline="0" noProof="0">
                <a:ln>
                  <a:noFill/>
                </a:ln>
                <a:solidFill>
                  <a:schemeClr val="bg1"/>
                </a:solidFill>
                <a:effectLst/>
                <a:uLnTx/>
                <a:uFillTx/>
                <a:latin typeface="Arial" panose="020B0604020202020204" pitchFamily="34" charset="0"/>
                <a:ea typeface="Arial Unicode MS"/>
                <a:cs typeface="Arial" panose="020B0604020202020204" pitchFamily="34" charset="0"/>
                <a:sym typeface="Arial"/>
              </a:rPr>
              <a:t>ǀ   CONFIDENTIAL</a:t>
            </a:r>
          </a:p>
          <a:p>
            <a:pPr marL="52133" marR="0" lvl="0" indent="-52133" defTabSz="674642" eaLnBrk="1" fontAlgn="auto" latinLnBrk="0" hangingPunct="1">
              <a:lnSpc>
                <a:spcPct val="100000"/>
              </a:lnSpc>
              <a:spcBef>
                <a:spcPts val="0"/>
              </a:spcBef>
              <a:spcAft>
                <a:spcPts val="0"/>
              </a:spcAft>
              <a:buClr>
                <a:prstClr val="white"/>
              </a:buClr>
              <a:buSzTx/>
              <a:buFont typeface="Arial" pitchFamily="34" charset="0"/>
              <a:buChar char="©"/>
              <a:tabLst/>
              <a:defRPr/>
            </a:pPr>
            <a:endParaRPr kumimoji="0" lang="en-US" sz="370" b="0" i="0" u="none" strike="noStrike" kern="0" cap="none" spc="0" normalizeH="0" baseline="0" noProof="0">
              <a:ln>
                <a:noFill/>
              </a:ln>
              <a:solidFill>
                <a:schemeClr val="bg1"/>
              </a:solidFill>
              <a:effectLst/>
              <a:uLnTx/>
              <a:uFillTx/>
              <a:latin typeface="Arial" panose="020B0604020202020204" pitchFamily="34" charset="0"/>
              <a:ea typeface="Arial Unicode MS"/>
              <a:cs typeface="Arial" panose="020B0604020202020204" pitchFamily="34" charset="0"/>
              <a:sym typeface="Arial"/>
            </a:endParaRPr>
          </a:p>
        </p:txBody>
      </p:sp>
    </p:spTree>
    <p:extLst>
      <p:ext uri="{BB962C8B-B14F-4D97-AF65-F5344CB8AC3E}">
        <p14:creationId xmlns:p14="http://schemas.microsoft.com/office/powerpoint/2010/main" val="1490944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69556983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31501036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55796367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690731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8820089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7.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vmlDrawing" Target="../drawings/vmlDrawing2.v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B84C85-B08A-421A-9A80-99696640096A}"/>
              </a:ext>
            </a:extLst>
          </p:cNvPr>
          <p:cNvGraphicFramePr>
            <a:graphicFrameLocks noChangeAspect="1"/>
          </p:cNvGraphicFramePr>
          <p:nvPr userDrawn="1">
            <p:custDataLst>
              <p:tags r:id="rId26"/>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8" imgW="246" imgH="247" progId="TCLayout.ActiveDocument.1">
                  <p:embed/>
                </p:oleObj>
              </mc:Choice>
              <mc:Fallback>
                <p:oleObj name="think-cell Slide" r:id="rId28" imgW="246" imgH="247" progId="TCLayout.ActiveDocument.1">
                  <p:embed/>
                  <p:pic>
                    <p:nvPicPr>
                      <p:cNvPr id="5" name="Object 4" hidden="1">
                        <a:extLst>
                          <a:ext uri="{FF2B5EF4-FFF2-40B4-BE49-F238E27FC236}">
                            <a16:creationId xmlns:a16="http://schemas.microsoft.com/office/drawing/2014/main" id="{C5B84C85-B08A-421A-9A80-99696640096A}"/>
                          </a:ext>
                        </a:extLst>
                      </p:cNvPr>
                      <p:cNvPicPr/>
                      <p:nvPr/>
                    </p:nvPicPr>
                    <p:blipFill>
                      <a:blip r:embed="rId29"/>
                      <a:stretch>
                        <a:fillRect/>
                      </a:stretch>
                    </p:blipFill>
                    <p:spPr>
                      <a:xfrm>
                        <a:off x="1587"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6A8FA1-6DC6-43B4-9805-7A7CC8E51CEB}"/>
              </a:ext>
            </a:extLst>
          </p:cNvPr>
          <p:cNvSpPr/>
          <p:nvPr userDrawn="1">
            <p:custDataLst>
              <p:tags r:id="rId27"/>
            </p:custDataLst>
          </p:nvPr>
        </p:nvSpPr>
        <p:spPr bwMode="gray">
          <a:xfrm>
            <a:off x="0" y="0"/>
            <a:ext cx="158709"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marL="0" marR="0" lvl="0" indent="0" algn="ctr" defTabSz="914126" eaLnBrk="1" fontAlgn="base" latinLnBrk="0" hangingPunct="1">
              <a:lnSpc>
                <a:spcPct val="100000"/>
              </a:lnSpc>
              <a:spcBef>
                <a:spcPct val="50000"/>
              </a:spcBef>
              <a:spcAft>
                <a:spcPct val="0"/>
              </a:spcAft>
              <a:buClr>
                <a:srgbClr val="F0AB00"/>
              </a:buClr>
              <a:buSzPct val="80000"/>
              <a:tabLst/>
            </a:pPr>
            <a:endParaRPr kumimoji="0" lang="en-US" sz="2399"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11" name="Classification"/>
          <p:cNvSpPr txBox="1"/>
          <p:nvPr userDrawn="1"/>
        </p:nvSpPr>
        <p:spPr bwMode="black">
          <a:xfrm>
            <a:off x="2813923" y="6559835"/>
            <a:ext cx="381416"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0"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a:t>
            </a:r>
            <a:endParaRPr kumimoji="0" lang="en-US" sz="600" b="0" i="0" u="none" kern="0" baseline="0">
              <a:solidFill>
                <a:schemeClr val="tx1"/>
              </a:solidFill>
              <a:latin typeface="Arial"/>
              <a:ea typeface="Arial Unicode MS"/>
              <a:cs typeface="Arial Unicode MS" pitchFamily="34" charset="-128"/>
              <a:sym typeface="Arial"/>
            </a:endParaRP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6860879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E6ACE-68DE-4345-93EC-F28DDB3F34D9}"/>
              </a:ext>
            </a:extLst>
          </p:cNvPr>
          <p:cNvGraphicFramePr>
            <a:graphicFrameLocks noChangeAspect="1"/>
          </p:cNvGraphicFramePr>
          <p:nvPr userDrawn="1">
            <p:custDataLst>
              <p:tags r:id="rId28"/>
            </p:custDataLst>
            <p:extLst>
              <p:ext uri="{D42A27DB-BD31-4B8C-83A1-F6EECF244321}">
                <p14:modId xmlns:p14="http://schemas.microsoft.com/office/powerpoint/2010/main" val="388207323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30" imgW="473" imgH="476" progId="TCLayout.ActiveDocument.1">
                  <p:embed/>
                </p:oleObj>
              </mc:Choice>
              <mc:Fallback>
                <p:oleObj name="think-cell Slide" r:id="rId30" imgW="473" imgH="476" progId="TCLayout.ActiveDocument.1">
                  <p:embed/>
                  <p:pic>
                    <p:nvPicPr>
                      <p:cNvPr id="5" name="Object 4" hidden="1">
                        <a:extLst>
                          <a:ext uri="{FF2B5EF4-FFF2-40B4-BE49-F238E27FC236}">
                            <a16:creationId xmlns:a16="http://schemas.microsoft.com/office/drawing/2014/main" id="{3F2E6ACE-68DE-4345-93EC-F28DDB3F34D9}"/>
                          </a:ext>
                        </a:extLst>
                      </p:cNvPr>
                      <p:cNvPicPr/>
                      <p:nvPr/>
                    </p:nvPicPr>
                    <p:blipFill>
                      <a:blip r:embed="rId31"/>
                      <a:stretch>
                        <a:fillRect/>
                      </a:stretch>
                    </p:blipFill>
                    <p:spPr>
                      <a:xfrm>
                        <a:off x="1587"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90B08C-8A2C-46F1-B74A-693DF5F49D64}"/>
              </a:ext>
            </a:extLst>
          </p:cNvPr>
          <p:cNvSpPr/>
          <p:nvPr userDrawn="1">
            <p:custDataLst>
              <p:tags r:id="rId29"/>
            </p:custDataLst>
          </p:nvPr>
        </p:nvSpPr>
        <p:spPr bwMode="gray">
          <a:xfrm>
            <a:off x="0" y="0"/>
            <a:ext cx="158709"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marL="0" marR="0" lvl="0" indent="0" algn="ctr" defTabSz="914126" eaLnBrk="1" fontAlgn="base" latinLnBrk="0" hangingPunct="1">
              <a:lnSpc>
                <a:spcPct val="100000"/>
              </a:lnSpc>
              <a:spcBef>
                <a:spcPct val="50000"/>
              </a:spcBef>
              <a:spcAft>
                <a:spcPct val="0"/>
              </a:spcAft>
              <a:buClr>
                <a:srgbClr val="F0AB00"/>
              </a:buClr>
              <a:buSzPct val="80000"/>
              <a:tabLst/>
            </a:pPr>
            <a:endParaRPr kumimoji="0" lang="en-US" sz="2399"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34"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3923" y="6559835"/>
            <a:ext cx="564110"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p>
        </p:txBody>
      </p:sp>
      <p:sp>
        <p:nvSpPr>
          <p:cNvPr id="10"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103769672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FC0999C-FBCE-E743-85CA-6C6216BE22B1}"/>
              </a:ext>
            </a:extLst>
          </p:cNvPr>
          <p:cNvSpPr>
            <a:spLocks noGrp="1"/>
          </p:cNvSpPr>
          <p:nvPr>
            <p:ph type="subTitle" idx="1"/>
          </p:nvPr>
        </p:nvSpPr>
        <p:spPr/>
        <p:txBody>
          <a:bodyPr/>
          <a:lstStyle/>
          <a:p>
            <a:r>
              <a:rPr lang="en-US" dirty="0" err="1"/>
              <a:t>Assem</a:t>
            </a:r>
            <a:r>
              <a:rPr lang="en-US" dirty="0"/>
              <a:t> Hussein, Principal Software Architect</a:t>
            </a:r>
          </a:p>
          <a:p>
            <a:r>
              <a:rPr lang="en-US" dirty="0"/>
              <a:t>Deni </a:t>
            </a:r>
            <a:r>
              <a:rPr lang="en-US" dirty="0" err="1"/>
              <a:t>Daja</a:t>
            </a:r>
            <a:r>
              <a:rPr lang="en-US" dirty="0"/>
              <a:t>, Software Engineer</a:t>
            </a:r>
          </a:p>
        </p:txBody>
      </p:sp>
      <p:sp>
        <p:nvSpPr>
          <p:cNvPr id="3" name="Title 2">
            <a:extLst>
              <a:ext uri="{FF2B5EF4-FFF2-40B4-BE49-F238E27FC236}">
                <a16:creationId xmlns:a16="http://schemas.microsoft.com/office/drawing/2014/main" id="{B0417937-6D9F-1A4D-9650-9B71DAA21E96}"/>
              </a:ext>
            </a:extLst>
          </p:cNvPr>
          <p:cNvSpPr>
            <a:spLocks noGrp="1"/>
          </p:cNvSpPr>
          <p:nvPr>
            <p:ph type="title"/>
          </p:nvPr>
        </p:nvSpPr>
        <p:spPr/>
        <p:txBody>
          <a:bodyPr/>
          <a:lstStyle/>
          <a:p>
            <a:r>
              <a:rPr lang="en-US" dirty="0"/>
              <a:t>SAP </a:t>
            </a:r>
            <a:r>
              <a:rPr lang="en-US" dirty="0">
                <a:solidFill>
                  <a:schemeClr val="accent1"/>
                </a:solidFill>
              </a:rPr>
              <a:t>Commerce Cloud </a:t>
            </a:r>
            <a:r>
              <a:rPr lang="en-US" dirty="0"/>
              <a:t>Extensibility</a:t>
            </a:r>
            <a:br>
              <a:rPr lang="en-US" dirty="0"/>
            </a:br>
            <a:r>
              <a:rPr lang="en-US" dirty="0"/>
              <a:t>powered by SAP </a:t>
            </a:r>
            <a:r>
              <a:rPr lang="en-US" dirty="0" err="1">
                <a:solidFill>
                  <a:schemeClr val="accent1"/>
                </a:solidFill>
              </a:rPr>
              <a:t>Kyma</a:t>
            </a:r>
            <a:r>
              <a:rPr lang="en-US" dirty="0">
                <a:solidFill>
                  <a:schemeClr val="accent1"/>
                </a:solidFill>
              </a:rPr>
              <a:t> runtime</a:t>
            </a:r>
          </a:p>
        </p:txBody>
      </p:sp>
      <p:sp>
        <p:nvSpPr>
          <p:cNvPr id="4" name="Picture Placeholder 3">
            <a:extLst>
              <a:ext uri="{FF2B5EF4-FFF2-40B4-BE49-F238E27FC236}">
                <a16:creationId xmlns:a16="http://schemas.microsoft.com/office/drawing/2014/main" id="{8F48260D-E004-514E-8324-AD9E4F6E0670}"/>
              </a:ext>
            </a:extLst>
          </p:cNvPr>
          <p:cNvSpPr>
            <a:spLocks noGrp="1"/>
          </p:cNvSpPr>
          <p:nvPr>
            <p:ph type="pic" sz="quarter" idx="12"/>
          </p:nvPr>
        </p:nvSpPr>
        <p:spPr/>
      </p:sp>
      <p:pic>
        <p:nvPicPr>
          <p:cNvPr id="6" name="Title Image" descr="Example of an image for ttitle slide" title="Title image">
            <a:extLst>
              <a:ext uri="{FF2B5EF4-FFF2-40B4-BE49-F238E27FC236}">
                <a16:creationId xmlns:a16="http://schemas.microsoft.com/office/drawing/2014/main" id="{720E9A99-37FB-A242-B2E5-119C02BFB6B4}"/>
              </a:ext>
            </a:extLst>
          </p:cNvPr>
          <p:cNvPicPr>
            <a:picLocks noChangeAspect="1"/>
          </p:cNvPicPr>
          <p:nvPr/>
        </p:nvPicPr>
        <p:blipFill rotWithShape="1">
          <a:blip r:embed="rId3"/>
          <a:srcRect t="21862" b="21862"/>
          <a:stretch/>
        </p:blipFill>
        <p:spPr bwMode="gray">
          <a:xfrm>
            <a:off x="0" y="-1006"/>
            <a:ext cx="12191999" cy="3430006"/>
          </a:xfrm>
          <a:prstGeom prst="rect">
            <a:avLst/>
          </a:prstGeom>
          <a:noFill/>
        </p:spPr>
      </p:pic>
      <p:sp>
        <p:nvSpPr>
          <p:cNvPr id="9" name="Rectangle 8">
            <a:extLst>
              <a:ext uri="{FF2B5EF4-FFF2-40B4-BE49-F238E27FC236}">
                <a16:creationId xmlns:a16="http://schemas.microsoft.com/office/drawing/2014/main" id="{8F3126EA-2C06-2A4B-8123-96B87B0214F4}"/>
              </a:ext>
            </a:extLst>
          </p:cNvPr>
          <p:cNvSpPr/>
          <p:nvPr/>
        </p:nvSpPr>
        <p:spPr bwMode="gray">
          <a:xfrm>
            <a:off x="210207" y="5686097"/>
            <a:ext cx="588579" cy="262758"/>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982878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886B-38FA-D94C-A20E-1A036F786EF0}"/>
              </a:ext>
            </a:extLst>
          </p:cNvPr>
          <p:cNvSpPr>
            <a:spLocks noGrp="1"/>
          </p:cNvSpPr>
          <p:nvPr>
            <p:ph type="title"/>
          </p:nvPr>
        </p:nvSpPr>
        <p:spPr/>
        <p:txBody>
          <a:bodyPr/>
          <a:lstStyle/>
          <a:p>
            <a:r>
              <a:rPr lang="en-DE" dirty="0"/>
              <a:t>SAP Commerce Cloud - </a:t>
            </a:r>
            <a:r>
              <a:rPr lang="en-DE" dirty="0">
                <a:solidFill>
                  <a:schemeClr val="accent1"/>
                </a:solidFill>
              </a:rPr>
              <a:t>Yesterday</a:t>
            </a:r>
          </a:p>
        </p:txBody>
      </p:sp>
      <p:pic>
        <p:nvPicPr>
          <p:cNvPr id="6" name="Picture 5" descr="Graphical user interface&#10;&#10;Description automatically generated with medium confidence">
            <a:extLst>
              <a:ext uri="{FF2B5EF4-FFF2-40B4-BE49-F238E27FC236}">
                <a16:creationId xmlns:a16="http://schemas.microsoft.com/office/drawing/2014/main" id="{8469349C-78DC-BE4A-8BC7-7F781A51870A}"/>
              </a:ext>
            </a:extLst>
          </p:cNvPr>
          <p:cNvPicPr>
            <a:picLocks noChangeAspect="1"/>
          </p:cNvPicPr>
          <p:nvPr/>
        </p:nvPicPr>
        <p:blipFill>
          <a:blip r:embed="rId2"/>
          <a:stretch>
            <a:fillRect/>
          </a:stretch>
        </p:blipFill>
        <p:spPr>
          <a:xfrm>
            <a:off x="0" y="1037966"/>
            <a:ext cx="12192000" cy="5659396"/>
          </a:xfrm>
          <a:prstGeom prst="rect">
            <a:avLst/>
          </a:prstGeom>
        </p:spPr>
      </p:pic>
    </p:spTree>
    <p:extLst>
      <p:ext uri="{BB962C8B-B14F-4D97-AF65-F5344CB8AC3E}">
        <p14:creationId xmlns:p14="http://schemas.microsoft.com/office/powerpoint/2010/main" val="2234233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886B-38FA-D94C-A20E-1A036F786EF0}"/>
              </a:ext>
            </a:extLst>
          </p:cNvPr>
          <p:cNvSpPr>
            <a:spLocks noGrp="1"/>
          </p:cNvSpPr>
          <p:nvPr>
            <p:ph type="title"/>
          </p:nvPr>
        </p:nvSpPr>
        <p:spPr>
          <a:xfrm>
            <a:off x="503870" y="504000"/>
            <a:ext cx="11183564" cy="369332"/>
          </a:xfrm>
        </p:spPr>
        <p:txBody>
          <a:bodyPr vert="horz" wrap="square" lIns="0" tIns="0" rIns="0" bIns="0" rtlCol="0" anchor="t" anchorCtr="0">
            <a:normAutofit/>
          </a:bodyPr>
          <a:lstStyle/>
          <a:p>
            <a:r>
              <a:rPr lang="en-US"/>
              <a:t>SAP Commerce Cloud - Today</a:t>
            </a:r>
          </a:p>
        </p:txBody>
      </p:sp>
      <p:graphicFrame>
        <p:nvGraphicFramePr>
          <p:cNvPr id="5" name="TextBox 2">
            <a:extLst>
              <a:ext uri="{FF2B5EF4-FFF2-40B4-BE49-F238E27FC236}">
                <a16:creationId xmlns:a16="http://schemas.microsoft.com/office/drawing/2014/main" id="{C9F95B53-38CA-44BC-A9B4-D40977A2A77B}"/>
              </a:ext>
            </a:extLst>
          </p:cNvPr>
          <p:cNvGraphicFramePr/>
          <p:nvPr>
            <p:extLst>
              <p:ext uri="{D42A27DB-BD31-4B8C-83A1-F6EECF244321}">
                <p14:modId xmlns:p14="http://schemas.microsoft.com/office/powerpoint/2010/main" val="962418716"/>
              </p:ext>
            </p:extLst>
          </p:nvPr>
        </p:nvGraphicFramePr>
        <p:xfrm>
          <a:off x="503869" y="1620000"/>
          <a:ext cx="11182288" cy="4716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DA56CBD6-68E0-D347-A314-D33A131F1C45}"/>
              </a:ext>
            </a:extLst>
          </p:cNvPr>
          <p:cNvSpPr/>
          <p:nvPr/>
        </p:nvSpPr>
        <p:spPr bwMode="gray">
          <a:xfrm>
            <a:off x="209579" y="6561438"/>
            <a:ext cx="3361524" cy="178250"/>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476838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886B-38FA-D94C-A20E-1A036F786EF0}"/>
              </a:ext>
            </a:extLst>
          </p:cNvPr>
          <p:cNvSpPr>
            <a:spLocks noGrp="1"/>
          </p:cNvSpPr>
          <p:nvPr>
            <p:ph type="title"/>
          </p:nvPr>
        </p:nvSpPr>
        <p:spPr>
          <a:xfrm>
            <a:off x="503870" y="442215"/>
            <a:ext cx="11183564" cy="369332"/>
          </a:xfrm>
        </p:spPr>
        <p:txBody>
          <a:bodyPr/>
          <a:lstStyle/>
          <a:p>
            <a:r>
              <a:rPr lang="en-DE" dirty="0"/>
              <a:t>SAP Commerce Cloud – </a:t>
            </a:r>
            <a:r>
              <a:rPr lang="en-DE" dirty="0">
                <a:solidFill>
                  <a:schemeClr val="accent1"/>
                </a:solidFill>
              </a:rPr>
              <a:t>Today</a:t>
            </a:r>
          </a:p>
        </p:txBody>
      </p:sp>
      <p:pic>
        <p:nvPicPr>
          <p:cNvPr id="7" name="Picture 6" descr="Graphical user interface&#10;&#10;Description automatically generated with medium confidence">
            <a:extLst>
              <a:ext uri="{FF2B5EF4-FFF2-40B4-BE49-F238E27FC236}">
                <a16:creationId xmlns:a16="http://schemas.microsoft.com/office/drawing/2014/main" id="{3886ABA5-3FE2-4B4C-9804-51BDB8504D3B}"/>
              </a:ext>
            </a:extLst>
          </p:cNvPr>
          <p:cNvPicPr>
            <a:picLocks noChangeAspect="1"/>
          </p:cNvPicPr>
          <p:nvPr/>
        </p:nvPicPr>
        <p:blipFill>
          <a:blip r:embed="rId2"/>
          <a:stretch>
            <a:fillRect/>
          </a:stretch>
        </p:blipFill>
        <p:spPr>
          <a:xfrm>
            <a:off x="6350" y="1009259"/>
            <a:ext cx="12179300" cy="5844968"/>
          </a:xfrm>
          <a:prstGeom prst="rect">
            <a:avLst/>
          </a:prstGeom>
        </p:spPr>
      </p:pic>
    </p:spTree>
    <p:extLst>
      <p:ext uri="{BB962C8B-B14F-4D97-AF65-F5344CB8AC3E}">
        <p14:creationId xmlns:p14="http://schemas.microsoft.com/office/powerpoint/2010/main" val="555415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886B-38FA-D94C-A20E-1A036F786EF0}"/>
              </a:ext>
            </a:extLst>
          </p:cNvPr>
          <p:cNvSpPr>
            <a:spLocks noGrp="1"/>
          </p:cNvSpPr>
          <p:nvPr>
            <p:ph type="title"/>
          </p:nvPr>
        </p:nvSpPr>
        <p:spPr>
          <a:xfrm>
            <a:off x="503870" y="504000"/>
            <a:ext cx="11183564" cy="369332"/>
          </a:xfrm>
        </p:spPr>
        <p:txBody>
          <a:bodyPr vert="horz" wrap="square" lIns="0" tIns="0" rIns="0" bIns="0" rtlCol="0" anchor="t" anchorCtr="0">
            <a:normAutofit/>
          </a:bodyPr>
          <a:lstStyle/>
          <a:p>
            <a:r>
              <a:rPr lang="en-US"/>
              <a:t>SAP Commerce Cloud - Today</a:t>
            </a:r>
          </a:p>
        </p:txBody>
      </p:sp>
      <p:graphicFrame>
        <p:nvGraphicFramePr>
          <p:cNvPr id="5" name="TextBox 2">
            <a:extLst>
              <a:ext uri="{FF2B5EF4-FFF2-40B4-BE49-F238E27FC236}">
                <a16:creationId xmlns:a16="http://schemas.microsoft.com/office/drawing/2014/main" id="{C9F95B53-38CA-44BC-A9B4-D40977A2A77B}"/>
              </a:ext>
            </a:extLst>
          </p:cNvPr>
          <p:cNvGraphicFramePr/>
          <p:nvPr>
            <p:extLst>
              <p:ext uri="{D42A27DB-BD31-4B8C-83A1-F6EECF244321}">
                <p14:modId xmlns:p14="http://schemas.microsoft.com/office/powerpoint/2010/main" val="3418218871"/>
              </p:ext>
            </p:extLst>
          </p:nvPr>
        </p:nvGraphicFramePr>
        <p:xfrm>
          <a:off x="503869" y="1620000"/>
          <a:ext cx="11182288" cy="4716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DA56CBD6-68E0-D347-A314-D33A131F1C45}"/>
              </a:ext>
            </a:extLst>
          </p:cNvPr>
          <p:cNvSpPr/>
          <p:nvPr/>
        </p:nvSpPr>
        <p:spPr bwMode="gray">
          <a:xfrm>
            <a:off x="209579" y="6561438"/>
            <a:ext cx="3361524" cy="178250"/>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47832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3886B-38FA-D94C-A20E-1A036F786EF0}"/>
              </a:ext>
            </a:extLst>
          </p:cNvPr>
          <p:cNvSpPr>
            <a:spLocks noGrp="1"/>
          </p:cNvSpPr>
          <p:nvPr>
            <p:ph type="title"/>
          </p:nvPr>
        </p:nvSpPr>
        <p:spPr>
          <a:xfrm>
            <a:off x="503870" y="442215"/>
            <a:ext cx="11183564" cy="369332"/>
          </a:xfrm>
        </p:spPr>
        <p:txBody>
          <a:bodyPr/>
          <a:lstStyle/>
          <a:p>
            <a:r>
              <a:rPr lang="en-DE" dirty="0"/>
              <a:t>SAP Commerce Cloud – </a:t>
            </a:r>
            <a:r>
              <a:rPr lang="en-DE" dirty="0">
                <a:solidFill>
                  <a:schemeClr val="accent1"/>
                </a:solidFill>
              </a:rPr>
              <a:t>Supports Domain Driven Business Model</a:t>
            </a:r>
          </a:p>
        </p:txBody>
      </p:sp>
      <p:pic>
        <p:nvPicPr>
          <p:cNvPr id="4" name="Picture 3" descr="Diagram&#10;&#10;Description automatically generated">
            <a:extLst>
              <a:ext uri="{FF2B5EF4-FFF2-40B4-BE49-F238E27FC236}">
                <a16:creationId xmlns:a16="http://schemas.microsoft.com/office/drawing/2014/main" id="{6B64B2DE-7147-854C-83C8-ABCE9060DBB0}"/>
              </a:ext>
            </a:extLst>
          </p:cNvPr>
          <p:cNvPicPr>
            <a:picLocks noChangeAspect="1"/>
          </p:cNvPicPr>
          <p:nvPr/>
        </p:nvPicPr>
        <p:blipFill>
          <a:blip r:embed="rId3"/>
          <a:stretch>
            <a:fillRect/>
          </a:stretch>
        </p:blipFill>
        <p:spPr>
          <a:xfrm>
            <a:off x="-2" y="860974"/>
            <a:ext cx="12192002" cy="6009383"/>
          </a:xfrm>
          <a:prstGeom prst="rect">
            <a:avLst/>
          </a:prstGeom>
        </p:spPr>
      </p:pic>
    </p:spTree>
    <p:extLst>
      <p:ext uri="{BB962C8B-B14F-4D97-AF65-F5344CB8AC3E}">
        <p14:creationId xmlns:p14="http://schemas.microsoft.com/office/powerpoint/2010/main" val="3283548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0E5A0-F3B7-4540-A50C-C8C52E30F8BC}"/>
              </a:ext>
            </a:extLst>
          </p:cNvPr>
          <p:cNvSpPr>
            <a:spLocks noGrp="1"/>
          </p:cNvSpPr>
          <p:nvPr>
            <p:ph type="title"/>
          </p:nvPr>
        </p:nvSpPr>
        <p:spPr/>
        <p:txBody>
          <a:bodyPr/>
          <a:lstStyle/>
          <a:p>
            <a:r>
              <a:rPr lang="en-DE" dirty="0"/>
              <a:t>SAP Commerce Cloud</a:t>
            </a:r>
          </a:p>
        </p:txBody>
      </p:sp>
      <p:sp>
        <p:nvSpPr>
          <p:cNvPr id="3" name="TextBox 2">
            <a:extLst>
              <a:ext uri="{FF2B5EF4-FFF2-40B4-BE49-F238E27FC236}">
                <a16:creationId xmlns:a16="http://schemas.microsoft.com/office/drawing/2014/main" id="{F8901668-CC50-CB44-AEDA-41A835F46421}"/>
              </a:ext>
            </a:extLst>
          </p:cNvPr>
          <p:cNvSpPr txBox="1"/>
          <p:nvPr/>
        </p:nvSpPr>
        <p:spPr>
          <a:xfrm>
            <a:off x="4436076" y="2767914"/>
            <a:ext cx="3249827" cy="43088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DE" sz="2800" b="1" kern="0" dirty="0">
                <a:solidFill>
                  <a:schemeClr val="accent1"/>
                </a:solidFill>
                <a:ea typeface="Arial Unicode MS" pitchFamily="34" charset="-128"/>
                <a:cs typeface="Arial Unicode MS" pitchFamily="34" charset="-128"/>
              </a:rPr>
              <a:t>Thank you!</a:t>
            </a:r>
          </a:p>
        </p:txBody>
      </p:sp>
      <p:sp>
        <p:nvSpPr>
          <p:cNvPr id="4" name="Rectangle 3">
            <a:extLst>
              <a:ext uri="{FF2B5EF4-FFF2-40B4-BE49-F238E27FC236}">
                <a16:creationId xmlns:a16="http://schemas.microsoft.com/office/drawing/2014/main" id="{6A0805B7-7D69-4349-854C-196668379724}"/>
              </a:ext>
            </a:extLst>
          </p:cNvPr>
          <p:cNvSpPr/>
          <p:nvPr/>
        </p:nvSpPr>
        <p:spPr bwMode="gray">
          <a:xfrm>
            <a:off x="296705" y="6445043"/>
            <a:ext cx="3200257" cy="202892"/>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187380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70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a0we1LxnyBOqGp01o3I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qEGb4iLBa5pwCIb2UX_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i8bD9ro_DLrRX5KXHEv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4GTE6W04DhlFcbcMeeK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SCTlshnLeKa1V9nhx99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2.xml><?xml version="1.0" encoding="utf-8"?>
<a:theme xmlns:a="http://schemas.openxmlformats.org/drawingml/2006/main" name="SAP 2021 16x9 black and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1_16x9_black_and_white" id="{91DBD789-0AAC-CB49-B8C6-9D5F03A6002F}" vid="{F4918F47-6F67-924D-B571-2BA9912FC7B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2306625-e4ba-4702-a9bf-b6fba28c526b">
      <UserInfo>
        <DisplayName>Kreimer, Georg</DisplayName>
        <AccountId>82</AccountId>
        <AccountType/>
      </UserInfo>
      <UserInfo>
        <DisplayName>Laing, Joanne</DisplayName>
        <AccountId>8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6340B64BF99674DBEF34AE3D61B3F17" ma:contentTypeVersion="6" ma:contentTypeDescription="Create a new document." ma:contentTypeScope="" ma:versionID="e6497a4f805d7fb13f0f2510ab0fbd39">
  <xsd:schema xmlns:xsd="http://www.w3.org/2001/XMLSchema" xmlns:xs="http://www.w3.org/2001/XMLSchema" xmlns:p="http://schemas.microsoft.com/office/2006/metadata/properties" xmlns:ns2="710b40a1-62ed-4ec8-b560-0493e04b9c92" xmlns:ns3="22306625-e4ba-4702-a9bf-b6fba28c526b" targetNamespace="http://schemas.microsoft.com/office/2006/metadata/properties" ma:root="true" ma:fieldsID="feeccf3b0ac97f6d52c3f643c11e26ca" ns2:_="" ns3:_="">
    <xsd:import namespace="710b40a1-62ed-4ec8-b560-0493e04b9c92"/>
    <xsd:import namespace="22306625-e4ba-4702-a9bf-b6fba28c526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0b40a1-62ed-4ec8-b560-0493e04b9c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2306625-e4ba-4702-a9bf-b6fba28c526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A80534-DFD4-492F-8B1D-57B24282CC2B}">
  <ds:schemaRefs>
    <ds:schemaRef ds:uri="http://purl.org/dc/elements/1.1/"/>
    <ds:schemaRef ds:uri="http://www.w3.org/XML/1998/namespac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10b40a1-62ed-4ec8-b560-0493e04b9c92"/>
    <ds:schemaRef ds:uri="22306625-e4ba-4702-a9bf-b6fba28c526b"/>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76DC853F-CBE3-4D05-9145-114E8C719656}">
  <ds:schemaRefs>
    <ds:schemaRef ds:uri="http://schemas.microsoft.com/sharepoint/v3/contenttype/forms"/>
  </ds:schemaRefs>
</ds:datastoreItem>
</file>

<file path=customXml/itemProps3.xml><?xml version="1.0" encoding="utf-8"?>
<ds:datastoreItem xmlns:ds="http://schemas.openxmlformats.org/officeDocument/2006/customXml" ds:itemID="{FFA0CDDC-0BD9-421F-B519-2BDCD0AE261E}">
  <ds:schemaRefs>
    <ds:schemaRef ds:uri="22306625-e4ba-4702-a9bf-b6fba28c526b"/>
    <ds:schemaRef ds:uri="710b40a1-62ed-4ec8-b560-0493e04b9c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3</TotalTime>
  <Words>135</Words>
  <Application>Microsoft Macintosh PowerPoint</Application>
  <PresentationFormat>Widescreen</PresentationFormat>
  <Paragraphs>22</Paragraphs>
  <Slides>8</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8" baseType="lpstr">
      <vt:lpstr>Arial</vt:lpstr>
      <vt:lpstr>BentonSans Bold</vt:lpstr>
      <vt:lpstr>BentonSans Light</vt:lpstr>
      <vt:lpstr>Calibri</vt:lpstr>
      <vt:lpstr>Courier New</vt:lpstr>
      <vt:lpstr>Symbol</vt:lpstr>
      <vt:lpstr>Wingdings</vt:lpstr>
      <vt:lpstr>SAP 2020 16x9 white</vt:lpstr>
      <vt:lpstr>SAP 2021 16x9 black and white</vt:lpstr>
      <vt:lpstr>think-cell Slide</vt:lpstr>
      <vt:lpstr>SAP Commerce Cloud Extensibility powered by SAP Kyma runtime</vt:lpstr>
      <vt:lpstr>SAP Commerce Cloud - Yesterday</vt:lpstr>
      <vt:lpstr>SAP Commerce Cloud - Today</vt:lpstr>
      <vt:lpstr>SAP Commerce Cloud – Today</vt:lpstr>
      <vt:lpstr>SAP Commerce Cloud - Today</vt:lpstr>
      <vt:lpstr>SAP Commerce Cloud – Supports Domain Driven Business Model</vt:lpstr>
      <vt:lpstr>SAP Commerce Clou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E EVERYWHERE HOW WE WIN?</dc:title>
  <dc:creator>Henssen, Michel</dc:creator>
  <cp:lastModifiedBy>Hussein, Assem</cp:lastModifiedBy>
  <cp:revision>38</cp:revision>
  <dcterms:created xsi:type="dcterms:W3CDTF">2020-12-18T07:26:22Z</dcterms:created>
  <dcterms:modified xsi:type="dcterms:W3CDTF">2021-11-08T18:3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340B64BF99674DBEF34AE3D61B3F17</vt:lpwstr>
  </property>
</Properties>
</file>